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5197" r:id="rId4"/>
    <p:sldMasterId id="2147485265" r:id="rId5"/>
    <p:sldMasterId id="2147485473" r:id="rId6"/>
    <p:sldMasterId id="2147485497" r:id="rId7"/>
  </p:sldMasterIdLst>
  <p:notesMasterIdLst>
    <p:notesMasterId r:id="rId44"/>
  </p:notesMasterIdLst>
  <p:handoutMasterIdLst>
    <p:handoutMasterId r:id="rId45"/>
  </p:handoutMasterIdLst>
  <p:sldIdLst>
    <p:sldId id="256" r:id="rId8"/>
    <p:sldId id="416" r:id="rId9"/>
    <p:sldId id="385" r:id="rId10"/>
    <p:sldId id="384" r:id="rId11"/>
    <p:sldId id="386" r:id="rId12"/>
    <p:sldId id="392" r:id="rId13"/>
    <p:sldId id="387" r:id="rId14"/>
    <p:sldId id="390" r:id="rId15"/>
    <p:sldId id="388" r:id="rId16"/>
    <p:sldId id="391" r:id="rId17"/>
    <p:sldId id="417" r:id="rId18"/>
    <p:sldId id="3168" r:id="rId19"/>
    <p:sldId id="264" r:id="rId20"/>
    <p:sldId id="265" r:id="rId21"/>
    <p:sldId id="275" r:id="rId22"/>
    <p:sldId id="276" r:id="rId23"/>
    <p:sldId id="3166" r:id="rId24"/>
    <p:sldId id="3167" r:id="rId25"/>
    <p:sldId id="277" r:id="rId26"/>
    <p:sldId id="278" r:id="rId27"/>
    <p:sldId id="279" r:id="rId28"/>
    <p:sldId id="281" r:id="rId29"/>
    <p:sldId id="282" r:id="rId30"/>
    <p:sldId id="284" r:id="rId31"/>
    <p:sldId id="285" r:id="rId32"/>
    <p:sldId id="286" r:id="rId33"/>
    <p:sldId id="287" r:id="rId34"/>
    <p:sldId id="290" r:id="rId35"/>
    <p:sldId id="291" r:id="rId36"/>
    <p:sldId id="292" r:id="rId37"/>
    <p:sldId id="298" r:id="rId38"/>
    <p:sldId id="299" r:id="rId39"/>
    <p:sldId id="294" r:id="rId40"/>
    <p:sldId id="295" r:id="rId41"/>
    <p:sldId id="296" r:id="rId42"/>
    <p:sldId id="297" r:id="rId43"/>
  </p:sldIdLst>
  <p:sldSz cx="9144000" cy="6858000" type="screen4x3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Trebuchet MS" panose="020B0603020202020204" pitchFamily="34" charset="0"/>
        <a:ea typeface="MS PGothic" panose="020B0600070205080204" pitchFamily="34" charset="-128"/>
        <a:cs typeface="Arial" panose="020B0604020202020204" pitchFamily="34" charset="0"/>
      </a:defRPr>
    </a:lvl1pPr>
    <a:lvl2pPr marL="457200"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Trebuchet MS" panose="020B0603020202020204" pitchFamily="34" charset="0"/>
        <a:ea typeface="MS PGothic" panose="020B0600070205080204" pitchFamily="34" charset="-128"/>
        <a:cs typeface="Arial" panose="020B0604020202020204" pitchFamily="34" charset="0"/>
      </a:defRPr>
    </a:lvl2pPr>
    <a:lvl3pPr marL="914400"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Trebuchet MS" panose="020B0603020202020204" pitchFamily="34" charset="0"/>
        <a:ea typeface="MS PGothic" panose="020B0600070205080204" pitchFamily="34" charset="-128"/>
        <a:cs typeface="Arial" panose="020B0604020202020204" pitchFamily="34" charset="0"/>
      </a:defRPr>
    </a:lvl3pPr>
    <a:lvl4pPr marL="1371600"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Trebuchet MS" panose="020B0603020202020204" pitchFamily="34" charset="0"/>
        <a:ea typeface="MS PGothic" panose="020B0600070205080204" pitchFamily="34" charset="-128"/>
        <a:cs typeface="Arial" panose="020B0604020202020204" pitchFamily="34" charset="0"/>
      </a:defRPr>
    </a:lvl4pPr>
    <a:lvl5pPr marL="1828800"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Trebuchet MS" panose="020B0603020202020204" pitchFamily="34" charset="0"/>
        <a:ea typeface="MS PGothic" panose="020B0600070205080204" pitchFamily="34" charset="-128"/>
        <a:cs typeface="Arial" panose="020B0604020202020204" pitchFamily="34" charset="0"/>
      </a:defRPr>
    </a:lvl5pPr>
    <a:lvl6pPr marL="2286000" algn="l" defTabSz="914400" rtl="0" eaLnBrk="1" latinLnBrk="0" hangingPunct="1">
      <a:defRPr sz="1600" b="1" kern="1200">
        <a:solidFill>
          <a:schemeClr val="tx1"/>
        </a:solidFill>
        <a:latin typeface="Trebuchet MS" panose="020B0603020202020204" pitchFamily="34" charset="0"/>
        <a:ea typeface="MS PGothic" panose="020B0600070205080204" pitchFamily="34" charset="-128"/>
        <a:cs typeface="Arial" panose="020B0604020202020204" pitchFamily="34" charset="0"/>
      </a:defRPr>
    </a:lvl6pPr>
    <a:lvl7pPr marL="2743200" algn="l" defTabSz="914400" rtl="0" eaLnBrk="1" latinLnBrk="0" hangingPunct="1">
      <a:defRPr sz="1600" b="1" kern="1200">
        <a:solidFill>
          <a:schemeClr val="tx1"/>
        </a:solidFill>
        <a:latin typeface="Trebuchet MS" panose="020B0603020202020204" pitchFamily="34" charset="0"/>
        <a:ea typeface="MS PGothic" panose="020B0600070205080204" pitchFamily="34" charset="-128"/>
        <a:cs typeface="Arial" panose="020B0604020202020204" pitchFamily="34" charset="0"/>
      </a:defRPr>
    </a:lvl7pPr>
    <a:lvl8pPr marL="3200400" algn="l" defTabSz="914400" rtl="0" eaLnBrk="1" latinLnBrk="0" hangingPunct="1">
      <a:defRPr sz="1600" b="1" kern="1200">
        <a:solidFill>
          <a:schemeClr val="tx1"/>
        </a:solidFill>
        <a:latin typeface="Trebuchet MS" panose="020B0603020202020204" pitchFamily="34" charset="0"/>
        <a:ea typeface="MS PGothic" panose="020B0600070205080204" pitchFamily="34" charset="-128"/>
        <a:cs typeface="Arial" panose="020B0604020202020204" pitchFamily="34" charset="0"/>
      </a:defRPr>
    </a:lvl8pPr>
    <a:lvl9pPr marL="3657600" algn="l" defTabSz="914400" rtl="0" eaLnBrk="1" latinLnBrk="0" hangingPunct="1">
      <a:defRPr sz="1600" b="1" kern="1200">
        <a:solidFill>
          <a:schemeClr val="tx1"/>
        </a:solidFill>
        <a:latin typeface="Trebuchet MS" panose="020B0603020202020204" pitchFamily="34" charset="0"/>
        <a:ea typeface="MS PGothic" panose="020B0600070205080204" pitchFamily="34" charset="-128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3" orient="horz" pos="2546" userDrawn="1">
          <p15:clr>
            <a:srgbClr val="A4A3A4"/>
          </p15:clr>
        </p15:guide>
        <p15:guide id="4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9733FB0-C795-4701-617C-F6976A6AC5B8}" name="Takaaki Masaki" initials="TM" userId="S::tmasaki@worldbank.org::56a88eee-ec65-40f9-8642-be59fd24ba9b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345"/>
    <a:srgbClr val="595959"/>
    <a:srgbClr val="9EC060"/>
    <a:srgbClr val="FF99FF"/>
    <a:srgbClr val="6736F2"/>
    <a:srgbClr val="9000D0"/>
    <a:srgbClr val="D679FF"/>
    <a:srgbClr val="FF9999"/>
    <a:srgbClr val="0A5CB6"/>
    <a:srgbClr val="0099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854D024-8FF7-452B-B2F9-8E2041F90BBF}" v="168" dt="2024-04-16T06:50:05.45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9" d="100"/>
          <a:sy n="79" d="100"/>
        </p:scale>
        <p:origin x="240" y="72"/>
      </p:cViewPr>
      <p:guideLst>
        <p:guide orient="horz" pos="2546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slide" Target="slides/slide32.xml"/><Relationship Id="rId21" Type="http://schemas.openxmlformats.org/officeDocument/2006/relationships/slide" Target="slides/slide14.xml"/><Relationship Id="rId34" Type="http://schemas.openxmlformats.org/officeDocument/2006/relationships/slide" Target="slides/slide27.xml"/><Relationship Id="rId42" Type="http://schemas.openxmlformats.org/officeDocument/2006/relationships/slide" Target="slides/slide35.xml"/><Relationship Id="rId47" Type="http://schemas.openxmlformats.org/officeDocument/2006/relationships/viewProps" Target="viewProps.xml"/><Relationship Id="rId50" Type="http://schemas.microsoft.com/office/2016/11/relationships/changesInfo" Target="changesInfos/changesInfo1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9" Type="http://schemas.openxmlformats.org/officeDocument/2006/relationships/slide" Target="slides/slide22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slide" Target="slides/slide30.xml"/><Relationship Id="rId40" Type="http://schemas.openxmlformats.org/officeDocument/2006/relationships/slide" Target="slides/slide33.xml"/><Relationship Id="rId45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slide" Target="slides/slide29.xml"/><Relationship Id="rId49" Type="http://schemas.openxmlformats.org/officeDocument/2006/relationships/tableStyles" Target="tableStyle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4" Type="http://schemas.openxmlformats.org/officeDocument/2006/relationships/notesMaster" Target="notesMasters/notesMaster1.xml"/><Relationship Id="rId52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slide" Target="slides/slide28.xml"/><Relationship Id="rId43" Type="http://schemas.openxmlformats.org/officeDocument/2006/relationships/slide" Target="slides/slide36.xml"/><Relationship Id="rId48" Type="http://schemas.openxmlformats.org/officeDocument/2006/relationships/theme" Target="theme/theme1.xml"/><Relationship Id="rId8" Type="http://schemas.openxmlformats.org/officeDocument/2006/relationships/slide" Target="slides/slide1.xml"/><Relationship Id="rId51" Type="http://schemas.microsoft.com/office/2015/10/relationships/revisionInfo" Target="revisionInfo.xml"/><Relationship Id="rId3" Type="http://schemas.openxmlformats.org/officeDocument/2006/relationships/customXml" Target="../customXml/item3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slide" Target="slides/slide31.xml"/><Relationship Id="rId46" Type="http://schemas.openxmlformats.org/officeDocument/2006/relationships/presProps" Target="presProps.xml"/><Relationship Id="rId20" Type="http://schemas.openxmlformats.org/officeDocument/2006/relationships/slide" Target="slides/slide13.xml"/><Relationship Id="rId41" Type="http://schemas.openxmlformats.org/officeDocument/2006/relationships/slide" Target="slides/slide34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akaaki Masaki" userId="S::tmasaki@worldbank.org::56a88eee-ec65-40f9-8642-be59fd24ba9b" providerId="AD" clId="Web-{4FED1BA9-A2ED-EF1A-3CD7-9330EEC9F2F2}"/>
    <pc:docChg chg="addSld modSld sldOrd">
      <pc:chgData name="Takaaki Masaki" userId="S::tmasaki@worldbank.org::56a88eee-ec65-40f9-8642-be59fd24ba9b" providerId="AD" clId="Web-{4FED1BA9-A2ED-EF1A-3CD7-9330EEC9F2F2}" dt="2022-03-10T07:15:38.774" v="28" actId="20577"/>
      <pc:docMkLst>
        <pc:docMk/>
      </pc:docMkLst>
      <pc:sldChg chg="delSp modSp">
        <pc:chgData name="Takaaki Masaki" userId="S::tmasaki@worldbank.org::56a88eee-ec65-40f9-8642-be59fd24ba9b" providerId="AD" clId="Web-{4FED1BA9-A2ED-EF1A-3CD7-9330EEC9F2F2}" dt="2022-03-10T07:15:05.758" v="18" actId="1076"/>
        <pc:sldMkLst>
          <pc:docMk/>
          <pc:sldMk cId="2382116385" sldId="326"/>
        </pc:sldMkLst>
        <pc:spChg chg="mod">
          <ac:chgData name="Takaaki Masaki" userId="S::tmasaki@worldbank.org::56a88eee-ec65-40f9-8642-be59fd24ba9b" providerId="AD" clId="Web-{4FED1BA9-A2ED-EF1A-3CD7-9330EEC9F2F2}" dt="2022-03-10T07:15:05.758" v="18" actId="1076"/>
          <ac:spMkLst>
            <pc:docMk/>
            <pc:sldMk cId="2382116385" sldId="326"/>
            <ac:spMk id="2" creationId="{E01226A3-FD12-4BA7-ABF5-9D408688073E}"/>
          </ac:spMkLst>
        </pc:spChg>
        <pc:spChg chg="del">
          <ac:chgData name="Takaaki Masaki" userId="S::tmasaki@worldbank.org::56a88eee-ec65-40f9-8642-be59fd24ba9b" providerId="AD" clId="Web-{4FED1BA9-A2ED-EF1A-3CD7-9330EEC9F2F2}" dt="2022-03-10T07:14:47.930" v="5"/>
          <ac:spMkLst>
            <pc:docMk/>
            <pc:sldMk cId="2382116385" sldId="326"/>
            <ac:spMk id="3" creationId="{3EE0DA0E-4180-4226-A6C5-B8C9859EB37D}"/>
          </ac:spMkLst>
        </pc:spChg>
        <pc:spChg chg="del">
          <ac:chgData name="Takaaki Masaki" userId="S::tmasaki@worldbank.org::56a88eee-ec65-40f9-8642-be59fd24ba9b" providerId="AD" clId="Web-{4FED1BA9-A2ED-EF1A-3CD7-9330EEC9F2F2}" dt="2022-03-10T07:14:54.711" v="7"/>
          <ac:spMkLst>
            <pc:docMk/>
            <pc:sldMk cId="2382116385" sldId="326"/>
            <ac:spMk id="4" creationId="{1EE6E14C-DFEC-4A41-972C-3C099E1C11EF}"/>
          </ac:spMkLst>
        </pc:spChg>
        <pc:spChg chg="del">
          <ac:chgData name="Takaaki Masaki" userId="S::tmasaki@worldbank.org::56a88eee-ec65-40f9-8642-be59fd24ba9b" providerId="AD" clId="Web-{4FED1BA9-A2ED-EF1A-3CD7-9330EEC9F2F2}" dt="2022-03-10T07:14:50.258" v="6"/>
          <ac:spMkLst>
            <pc:docMk/>
            <pc:sldMk cId="2382116385" sldId="326"/>
            <ac:spMk id="5" creationId="{690978AD-00A2-4582-B389-CFB3FB3E3D1D}"/>
          </ac:spMkLst>
        </pc:spChg>
      </pc:sldChg>
      <pc:sldChg chg="add replId">
        <pc:chgData name="Takaaki Masaki" userId="S::tmasaki@worldbank.org::56a88eee-ec65-40f9-8642-be59fd24ba9b" providerId="AD" clId="Web-{4FED1BA9-A2ED-EF1A-3CD7-9330EEC9F2F2}" dt="2022-03-10T07:14:19.930" v="0"/>
        <pc:sldMkLst>
          <pc:docMk/>
          <pc:sldMk cId="4122011094" sldId="365"/>
        </pc:sldMkLst>
      </pc:sldChg>
      <pc:sldChg chg="modSp add ord">
        <pc:chgData name="Takaaki Masaki" userId="S::tmasaki@worldbank.org::56a88eee-ec65-40f9-8642-be59fd24ba9b" providerId="AD" clId="Web-{4FED1BA9-A2ED-EF1A-3CD7-9330EEC9F2F2}" dt="2022-03-10T07:15:38.774" v="28" actId="20577"/>
        <pc:sldMkLst>
          <pc:docMk/>
          <pc:sldMk cId="4043904794" sldId="366"/>
        </pc:sldMkLst>
        <pc:spChg chg="mod">
          <ac:chgData name="Takaaki Masaki" userId="S::tmasaki@worldbank.org::56a88eee-ec65-40f9-8642-be59fd24ba9b" providerId="AD" clId="Web-{4FED1BA9-A2ED-EF1A-3CD7-9330EEC9F2F2}" dt="2022-03-10T07:15:38.774" v="28" actId="20577"/>
          <ac:spMkLst>
            <pc:docMk/>
            <pc:sldMk cId="4043904794" sldId="366"/>
            <ac:spMk id="2" creationId="{E01226A3-FD12-4BA7-ABF5-9D408688073E}"/>
          </ac:spMkLst>
        </pc:spChg>
      </pc:sldChg>
      <pc:sldMasterChg chg="addSldLayout">
        <pc:chgData name="Takaaki Masaki" userId="S::tmasaki@worldbank.org::56a88eee-ec65-40f9-8642-be59fd24ba9b" providerId="AD" clId="Web-{4FED1BA9-A2ED-EF1A-3CD7-9330EEC9F2F2}" dt="2022-03-10T07:15:27.743" v="19"/>
        <pc:sldMasterMkLst>
          <pc:docMk/>
          <pc:sldMasterMk cId="0" sldId="2147485265"/>
        </pc:sldMasterMkLst>
        <pc:sldLayoutChg chg="add">
          <pc:chgData name="Takaaki Masaki" userId="S::tmasaki@worldbank.org::56a88eee-ec65-40f9-8642-be59fd24ba9b" providerId="AD" clId="Web-{4FED1BA9-A2ED-EF1A-3CD7-9330EEC9F2F2}" dt="2022-03-10T07:15:27.743" v="19"/>
          <pc:sldLayoutMkLst>
            <pc:docMk/>
            <pc:sldMasterMk cId="0" sldId="2147485265"/>
            <pc:sldLayoutMk cId="1255986698" sldId="2147485525"/>
          </pc:sldLayoutMkLst>
        </pc:sldLayoutChg>
        <pc:sldLayoutChg chg="add">
          <pc:chgData name="Takaaki Masaki" userId="S::tmasaki@worldbank.org::56a88eee-ec65-40f9-8642-be59fd24ba9b" providerId="AD" clId="Web-{4FED1BA9-A2ED-EF1A-3CD7-9330EEC9F2F2}" dt="2022-03-10T07:15:27.743" v="19"/>
          <pc:sldLayoutMkLst>
            <pc:docMk/>
            <pc:sldMasterMk cId="0" sldId="2147485265"/>
            <pc:sldLayoutMk cId="877033691" sldId="2147485526"/>
          </pc:sldLayoutMkLst>
        </pc:sldLayoutChg>
        <pc:sldLayoutChg chg="add">
          <pc:chgData name="Takaaki Masaki" userId="S::tmasaki@worldbank.org::56a88eee-ec65-40f9-8642-be59fd24ba9b" providerId="AD" clId="Web-{4FED1BA9-A2ED-EF1A-3CD7-9330EEC9F2F2}" dt="2022-03-10T07:15:27.743" v="19"/>
          <pc:sldLayoutMkLst>
            <pc:docMk/>
            <pc:sldMasterMk cId="0" sldId="2147485265"/>
            <pc:sldLayoutMk cId="3620978242" sldId="2147485527"/>
          </pc:sldLayoutMkLst>
        </pc:sldLayoutChg>
        <pc:sldLayoutChg chg="add">
          <pc:chgData name="Takaaki Masaki" userId="S::tmasaki@worldbank.org::56a88eee-ec65-40f9-8642-be59fd24ba9b" providerId="AD" clId="Web-{4FED1BA9-A2ED-EF1A-3CD7-9330EEC9F2F2}" dt="2022-03-10T07:15:27.743" v="19"/>
          <pc:sldLayoutMkLst>
            <pc:docMk/>
            <pc:sldMasterMk cId="0" sldId="2147485265"/>
            <pc:sldLayoutMk cId="2542283950" sldId="2147485528"/>
          </pc:sldLayoutMkLst>
        </pc:sldLayoutChg>
      </pc:sldMasterChg>
    </pc:docChg>
  </pc:docChgLst>
  <pc:docChgLst>
    <pc:chgData name="Koichi Ito" userId="S::koichi19960406_gmail.com#ext#@worldbankgroup.onmicrosoft.com::f9ef8c51-761c-4d11-abde-96febf25f02b" providerId="AD" clId="Web-{22CF6156-6EF2-5ECD-CA4A-2792A35FDE58}"/>
    <pc:docChg chg="modSld">
      <pc:chgData name="Koichi Ito" userId="S::koichi19960406_gmail.com#ext#@worldbankgroup.onmicrosoft.com::f9ef8c51-761c-4d11-abde-96febf25f02b" providerId="AD" clId="Web-{22CF6156-6EF2-5ECD-CA4A-2792A35FDE58}" dt="2022-02-01T08:16:29.960" v="2" actId="20577"/>
      <pc:docMkLst>
        <pc:docMk/>
      </pc:docMkLst>
      <pc:sldChg chg="modSp">
        <pc:chgData name="Koichi Ito" userId="S::koichi19960406_gmail.com#ext#@worldbankgroup.onmicrosoft.com::f9ef8c51-761c-4d11-abde-96febf25f02b" providerId="AD" clId="Web-{22CF6156-6EF2-5ECD-CA4A-2792A35FDE58}" dt="2022-02-01T08:16:29.960" v="2" actId="20577"/>
        <pc:sldMkLst>
          <pc:docMk/>
          <pc:sldMk cId="1796130260" sldId="279"/>
        </pc:sldMkLst>
        <pc:spChg chg="mod">
          <ac:chgData name="Koichi Ito" userId="S::koichi19960406_gmail.com#ext#@worldbankgroup.onmicrosoft.com::f9ef8c51-761c-4d11-abde-96febf25f02b" providerId="AD" clId="Web-{22CF6156-6EF2-5ECD-CA4A-2792A35FDE58}" dt="2022-02-01T08:16:29.960" v="2" actId="20577"/>
          <ac:spMkLst>
            <pc:docMk/>
            <pc:sldMk cId="1796130260" sldId="279"/>
            <ac:spMk id="10" creationId="{DDD61ABB-EBDC-FA49-AD27-5698C4A92B75}"/>
          </ac:spMkLst>
        </pc:spChg>
      </pc:sldChg>
    </pc:docChg>
  </pc:docChgLst>
  <pc:docChgLst>
    <pc:chgData name="Ito Koichi" userId="7c59a57e28e385d5" providerId="LiveId" clId="{7BE1A0C3-347C-9343-AD50-5497B70087AB}"/>
    <pc:docChg chg="undo redo custSel addSld delSld modSld sldOrd">
      <pc:chgData name="Ito Koichi" userId="7c59a57e28e385d5" providerId="LiveId" clId="{7BE1A0C3-347C-9343-AD50-5497B70087AB}" dt="2022-03-15T03:00:01.039" v="10346" actId="20577"/>
      <pc:docMkLst>
        <pc:docMk/>
      </pc:docMkLst>
      <pc:sldChg chg="modSp">
        <pc:chgData name="Ito Koichi" userId="7c59a57e28e385d5" providerId="LiveId" clId="{7BE1A0C3-347C-9343-AD50-5497B70087AB}" dt="2022-02-02T01:00:13.085" v="3554"/>
        <pc:sldMkLst>
          <pc:docMk/>
          <pc:sldMk cId="3352592262" sldId="257"/>
        </pc:sldMkLst>
        <pc:spChg chg="mod">
          <ac:chgData name="Ito Koichi" userId="7c59a57e28e385d5" providerId="LiveId" clId="{7BE1A0C3-347C-9343-AD50-5497B70087AB}" dt="2022-02-02T01:00:13.085" v="3554"/>
          <ac:spMkLst>
            <pc:docMk/>
            <pc:sldMk cId="3352592262" sldId="257"/>
            <ac:spMk id="4" creationId="{B4DB4F7A-91EE-4B5D-A489-169E2BEF08BF}"/>
          </ac:spMkLst>
        </pc:spChg>
      </pc:sldChg>
      <pc:sldChg chg="modSp mod">
        <pc:chgData name="Ito Koichi" userId="7c59a57e28e385d5" providerId="LiveId" clId="{7BE1A0C3-347C-9343-AD50-5497B70087AB}" dt="2022-01-24T04:39:29.892" v="76"/>
        <pc:sldMkLst>
          <pc:docMk/>
          <pc:sldMk cId="363020870" sldId="258"/>
        </pc:sldMkLst>
        <pc:spChg chg="mod">
          <ac:chgData name="Ito Koichi" userId="7c59a57e28e385d5" providerId="LiveId" clId="{7BE1A0C3-347C-9343-AD50-5497B70087AB}" dt="2022-01-24T04:39:29.892" v="76"/>
          <ac:spMkLst>
            <pc:docMk/>
            <pc:sldMk cId="363020870" sldId="258"/>
            <ac:spMk id="2" creationId="{E01226A3-FD12-4BA7-ABF5-9D408688073E}"/>
          </ac:spMkLst>
        </pc:spChg>
      </pc:sldChg>
      <pc:sldChg chg="del">
        <pc:chgData name="Ito Koichi" userId="7c59a57e28e385d5" providerId="LiveId" clId="{7BE1A0C3-347C-9343-AD50-5497B70087AB}" dt="2022-01-24T04:24:21.505" v="24" actId="2696"/>
        <pc:sldMkLst>
          <pc:docMk/>
          <pc:sldMk cId="34186525" sldId="259"/>
        </pc:sldMkLst>
      </pc:sldChg>
      <pc:sldChg chg="addSp delSp modSp mod">
        <pc:chgData name="Ito Koichi" userId="7c59a57e28e385d5" providerId="LiveId" clId="{7BE1A0C3-347C-9343-AD50-5497B70087AB}" dt="2022-02-06T05:51:58.790" v="8384" actId="113"/>
        <pc:sldMkLst>
          <pc:docMk/>
          <pc:sldMk cId="3961101582" sldId="260"/>
        </pc:sldMkLst>
        <pc:spChg chg="mod">
          <ac:chgData name="Ito Koichi" userId="7c59a57e28e385d5" providerId="LiveId" clId="{7BE1A0C3-347C-9343-AD50-5497B70087AB}" dt="2022-01-24T04:30:03.823" v="60"/>
          <ac:spMkLst>
            <pc:docMk/>
            <pc:sldMk cId="3961101582" sldId="260"/>
            <ac:spMk id="2" creationId="{BFA593CE-D009-491F-9B8E-186C1CE55904}"/>
          </ac:spMkLst>
        </pc:spChg>
        <pc:spChg chg="mod">
          <ac:chgData name="Ito Koichi" userId="7c59a57e28e385d5" providerId="LiveId" clId="{7BE1A0C3-347C-9343-AD50-5497B70087AB}" dt="2022-02-02T01:00:36.586" v="3555"/>
          <ac:spMkLst>
            <pc:docMk/>
            <pc:sldMk cId="3961101582" sldId="260"/>
            <ac:spMk id="4" creationId="{54E2D0D7-40E0-450B-8D80-617FDA7399A1}"/>
          </ac:spMkLst>
        </pc:spChg>
        <pc:spChg chg="mod">
          <ac:chgData name="Ito Koichi" userId="7c59a57e28e385d5" providerId="LiveId" clId="{7BE1A0C3-347C-9343-AD50-5497B70087AB}" dt="2022-02-06T05:51:53.005" v="8381" actId="113"/>
          <ac:spMkLst>
            <pc:docMk/>
            <pc:sldMk cId="3961101582" sldId="260"/>
            <ac:spMk id="7" creationId="{830ED3FE-7061-4E0F-BC7E-960A9CCC8035}"/>
          </ac:spMkLst>
        </pc:spChg>
        <pc:spChg chg="mod">
          <ac:chgData name="Ito Koichi" userId="7c59a57e28e385d5" providerId="LiveId" clId="{7BE1A0C3-347C-9343-AD50-5497B70087AB}" dt="2022-02-06T05:51:56.926" v="8383" actId="113"/>
          <ac:spMkLst>
            <pc:docMk/>
            <pc:sldMk cId="3961101582" sldId="260"/>
            <ac:spMk id="9" creationId="{F532BA4A-A990-489E-B307-A9F9E61EDCED}"/>
          </ac:spMkLst>
        </pc:spChg>
        <pc:spChg chg="mod">
          <ac:chgData name="Ito Koichi" userId="7c59a57e28e385d5" providerId="LiveId" clId="{7BE1A0C3-347C-9343-AD50-5497B70087AB}" dt="2022-02-06T05:51:55.143" v="8382" actId="113"/>
          <ac:spMkLst>
            <pc:docMk/>
            <pc:sldMk cId="3961101582" sldId="260"/>
            <ac:spMk id="11" creationId="{DC51FDCE-E443-4382-9E82-7EE25A398805}"/>
          </ac:spMkLst>
        </pc:spChg>
        <pc:spChg chg="mod">
          <ac:chgData name="Ito Koichi" userId="7c59a57e28e385d5" providerId="LiveId" clId="{7BE1A0C3-347C-9343-AD50-5497B70087AB}" dt="2022-02-06T05:51:58.790" v="8384" actId="113"/>
          <ac:spMkLst>
            <pc:docMk/>
            <pc:sldMk cId="3961101582" sldId="260"/>
            <ac:spMk id="13" creationId="{E487931E-8006-4906-9028-C01C28E93ABC}"/>
          </ac:spMkLst>
        </pc:spChg>
        <pc:picChg chg="add del mod modCrop">
          <ac:chgData name="Ito Koichi" userId="7c59a57e28e385d5" providerId="LiveId" clId="{7BE1A0C3-347C-9343-AD50-5497B70087AB}" dt="2022-02-02T08:14:15.069" v="4846" actId="1076"/>
          <ac:picMkLst>
            <pc:docMk/>
            <pc:sldMk cId="3961101582" sldId="260"/>
            <ac:picMk id="6" creationId="{E244F4A8-6704-9243-9EA5-78D02CA81C60}"/>
          </ac:picMkLst>
        </pc:picChg>
        <pc:picChg chg="add mod">
          <ac:chgData name="Ito Koichi" userId="7c59a57e28e385d5" providerId="LiveId" clId="{7BE1A0C3-347C-9343-AD50-5497B70087AB}" dt="2022-01-24T04:37:47.837" v="62" actId="1076"/>
          <ac:picMkLst>
            <pc:docMk/>
            <pc:sldMk cId="3961101582" sldId="260"/>
            <ac:picMk id="10" creationId="{D799CEE0-DD76-974F-A1ED-5A4BDF30E987}"/>
          </ac:picMkLst>
        </pc:picChg>
        <pc:picChg chg="mod">
          <ac:chgData name="Ito Koichi" userId="7c59a57e28e385d5" providerId="LiveId" clId="{7BE1A0C3-347C-9343-AD50-5497B70087AB}" dt="2022-01-24T04:37:47.837" v="62" actId="1076"/>
          <ac:picMkLst>
            <pc:docMk/>
            <pc:sldMk cId="3961101582" sldId="260"/>
            <ac:picMk id="14" creationId="{6288863C-56FC-42BE-8808-E015F6AD1103}"/>
          </ac:picMkLst>
        </pc:picChg>
        <pc:picChg chg="add mod">
          <ac:chgData name="Ito Koichi" userId="7c59a57e28e385d5" providerId="LiveId" clId="{7BE1A0C3-347C-9343-AD50-5497B70087AB}" dt="2022-01-24T04:37:47.837" v="62" actId="1076"/>
          <ac:picMkLst>
            <pc:docMk/>
            <pc:sldMk cId="3961101582" sldId="260"/>
            <ac:picMk id="15" creationId="{3266C12F-7B37-BA43-8F50-A6CD031FA368}"/>
          </ac:picMkLst>
        </pc:picChg>
        <pc:picChg chg="add del mod">
          <ac:chgData name="Ito Koichi" userId="7c59a57e28e385d5" providerId="LiveId" clId="{7BE1A0C3-347C-9343-AD50-5497B70087AB}" dt="2022-01-24T04:27:07.746" v="47" actId="931"/>
          <ac:picMkLst>
            <pc:docMk/>
            <pc:sldMk cId="3961101582" sldId="260"/>
            <ac:picMk id="17" creationId="{440586B1-C889-874D-B77B-8C18E38343B8}"/>
          </ac:picMkLst>
        </pc:picChg>
        <pc:picChg chg="add del mod">
          <ac:chgData name="Ito Koichi" userId="7c59a57e28e385d5" providerId="LiveId" clId="{7BE1A0C3-347C-9343-AD50-5497B70087AB}" dt="2022-01-24T04:28:30.676" v="52" actId="931"/>
          <ac:picMkLst>
            <pc:docMk/>
            <pc:sldMk cId="3961101582" sldId="260"/>
            <ac:picMk id="19" creationId="{455B8CDD-5219-844E-888B-947F5417B9E1}"/>
          </ac:picMkLst>
        </pc:picChg>
        <pc:picChg chg="add del mod">
          <ac:chgData name="Ito Koichi" userId="7c59a57e28e385d5" providerId="LiveId" clId="{7BE1A0C3-347C-9343-AD50-5497B70087AB}" dt="2022-01-24T04:28:49.941" v="54" actId="931"/>
          <ac:picMkLst>
            <pc:docMk/>
            <pc:sldMk cId="3961101582" sldId="260"/>
            <ac:picMk id="21" creationId="{2CD22F69-C4CF-FA48-AC79-F4156D47B298}"/>
          </ac:picMkLst>
        </pc:picChg>
        <pc:picChg chg="add del mod">
          <ac:chgData name="Ito Koichi" userId="7c59a57e28e385d5" providerId="LiveId" clId="{7BE1A0C3-347C-9343-AD50-5497B70087AB}" dt="2022-01-24T04:28:57.427" v="56" actId="931"/>
          <ac:picMkLst>
            <pc:docMk/>
            <pc:sldMk cId="3961101582" sldId="260"/>
            <ac:picMk id="23" creationId="{3314DFE0-8A87-BD44-B59E-1B7374E310C5}"/>
          </ac:picMkLst>
        </pc:picChg>
        <pc:picChg chg="add del mod">
          <ac:chgData name="Ito Koichi" userId="7c59a57e28e385d5" providerId="LiveId" clId="{7BE1A0C3-347C-9343-AD50-5497B70087AB}" dt="2022-01-24T04:29:32.408" v="58" actId="931"/>
          <ac:picMkLst>
            <pc:docMk/>
            <pc:sldMk cId="3961101582" sldId="260"/>
            <ac:picMk id="25" creationId="{B7960D6C-D325-994C-8952-1A8164C0FC5A}"/>
          </ac:picMkLst>
        </pc:picChg>
      </pc:sldChg>
      <pc:sldChg chg="modSp add mod">
        <pc:chgData name="Ito Koichi" userId="7c59a57e28e385d5" providerId="LiveId" clId="{7BE1A0C3-347C-9343-AD50-5497B70087AB}" dt="2022-01-24T04:39:38.725" v="81" actId="113"/>
        <pc:sldMkLst>
          <pc:docMk/>
          <pc:sldMk cId="553589282" sldId="261"/>
        </pc:sldMkLst>
        <pc:spChg chg="mod">
          <ac:chgData name="Ito Koichi" userId="7c59a57e28e385d5" providerId="LiveId" clId="{7BE1A0C3-347C-9343-AD50-5497B70087AB}" dt="2022-01-24T04:39:38.725" v="81" actId="113"/>
          <ac:spMkLst>
            <pc:docMk/>
            <pc:sldMk cId="553589282" sldId="261"/>
            <ac:spMk id="2" creationId="{E01226A3-FD12-4BA7-ABF5-9D408688073E}"/>
          </ac:spMkLst>
        </pc:spChg>
      </pc:sldChg>
      <pc:sldChg chg="addSp delSp modSp new mod">
        <pc:chgData name="Ito Koichi" userId="7c59a57e28e385d5" providerId="LiveId" clId="{7BE1A0C3-347C-9343-AD50-5497B70087AB}" dt="2022-02-06T05:52:16.225" v="8386" actId="113"/>
        <pc:sldMkLst>
          <pc:docMk/>
          <pc:sldMk cId="2126581259" sldId="262"/>
        </pc:sldMkLst>
        <pc:spChg chg="mod">
          <ac:chgData name="Ito Koichi" userId="7c59a57e28e385d5" providerId="LiveId" clId="{7BE1A0C3-347C-9343-AD50-5497B70087AB}" dt="2022-01-24T04:40:15.199" v="83"/>
          <ac:spMkLst>
            <pc:docMk/>
            <pc:sldMk cId="2126581259" sldId="262"/>
            <ac:spMk id="2" creationId="{5F51176E-0EB4-404D-9296-04C17AE93B13}"/>
          </ac:spMkLst>
        </pc:spChg>
        <pc:spChg chg="del">
          <ac:chgData name="Ito Koichi" userId="7c59a57e28e385d5" providerId="LiveId" clId="{7BE1A0C3-347C-9343-AD50-5497B70087AB}" dt="2022-01-24T06:15:29.174" v="260" actId="478"/>
          <ac:spMkLst>
            <pc:docMk/>
            <pc:sldMk cId="2126581259" sldId="262"/>
            <ac:spMk id="3" creationId="{D692931B-DA42-D342-A9CA-6CAB8F2C81A2}"/>
          </ac:spMkLst>
        </pc:spChg>
        <pc:spChg chg="mod">
          <ac:chgData name="Ito Koichi" userId="7c59a57e28e385d5" providerId="LiveId" clId="{7BE1A0C3-347C-9343-AD50-5497B70087AB}" dt="2022-02-02T01:00:40.870" v="3556"/>
          <ac:spMkLst>
            <pc:docMk/>
            <pc:sldMk cId="2126581259" sldId="262"/>
            <ac:spMk id="4" creationId="{FB81E4D4-6F47-1D41-92EA-7A7858DD01EB}"/>
          </ac:spMkLst>
        </pc:spChg>
        <pc:spChg chg="add mod">
          <ac:chgData name="Ito Koichi" userId="7c59a57e28e385d5" providerId="LiveId" clId="{7BE1A0C3-347C-9343-AD50-5497B70087AB}" dt="2022-02-06T05:52:16.225" v="8386" actId="113"/>
          <ac:spMkLst>
            <pc:docMk/>
            <pc:sldMk cId="2126581259" sldId="262"/>
            <ac:spMk id="8" creationId="{4D10D322-EF40-0744-B5B3-90A192ECFD43}"/>
          </ac:spMkLst>
        </pc:spChg>
        <pc:spChg chg="add mod">
          <ac:chgData name="Ito Koichi" userId="7c59a57e28e385d5" providerId="LiveId" clId="{7BE1A0C3-347C-9343-AD50-5497B70087AB}" dt="2022-02-06T05:52:16.225" v="8386" actId="113"/>
          <ac:spMkLst>
            <pc:docMk/>
            <pc:sldMk cId="2126581259" sldId="262"/>
            <ac:spMk id="9" creationId="{7830D813-2546-3142-8C1C-A3F7206EA378}"/>
          </ac:spMkLst>
        </pc:spChg>
        <pc:spChg chg="add mod">
          <ac:chgData name="Ito Koichi" userId="7c59a57e28e385d5" providerId="LiveId" clId="{7BE1A0C3-347C-9343-AD50-5497B70087AB}" dt="2022-02-06T05:52:16.225" v="8386" actId="113"/>
          <ac:spMkLst>
            <pc:docMk/>
            <pc:sldMk cId="2126581259" sldId="262"/>
            <ac:spMk id="10" creationId="{97E79E67-236F-A04A-A2FB-C4D4FA2D9CB6}"/>
          </ac:spMkLst>
        </pc:spChg>
        <pc:spChg chg="add mod">
          <ac:chgData name="Ito Koichi" userId="7c59a57e28e385d5" providerId="LiveId" clId="{7BE1A0C3-347C-9343-AD50-5497B70087AB}" dt="2022-02-06T05:52:16.225" v="8386" actId="113"/>
          <ac:spMkLst>
            <pc:docMk/>
            <pc:sldMk cId="2126581259" sldId="262"/>
            <ac:spMk id="11" creationId="{9967711C-4EA9-6145-8B8A-C65ADFC4A2C6}"/>
          </ac:spMkLst>
        </pc:spChg>
        <pc:spChg chg="add mod">
          <ac:chgData name="Ito Koichi" userId="7c59a57e28e385d5" providerId="LiveId" clId="{7BE1A0C3-347C-9343-AD50-5497B70087AB}" dt="2022-02-06T05:52:16.225" v="8386" actId="113"/>
          <ac:spMkLst>
            <pc:docMk/>
            <pc:sldMk cId="2126581259" sldId="262"/>
            <ac:spMk id="12" creationId="{0F590AD0-C866-9742-95BF-694F739C30A6}"/>
          </ac:spMkLst>
        </pc:spChg>
        <pc:picChg chg="add mod">
          <ac:chgData name="Ito Koichi" userId="7c59a57e28e385d5" providerId="LiveId" clId="{7BE1A0C3-347C-9343-AD50-5497B70087AB}" dt="2022-01-24T06:13:22.028" v="232" actId="1076"/>
          <ac:picMkLst>
            <pc:docMk/>
            <pc:sldMk cId="2126581259" sldId="262"/>
            <ac:picMk id="7" creationId="{47192CDE-9FF2-F844-978E-F551BE776F82}"/>
          </ac:picMkLst>
        </pc:picChg>
      </pc:sldChg>
      <pc:sldChg chg="modSp add mod">
        <pc:chgData name="Ito Koichi" userId="7c59a57e28e385d5" providerId="LiveId" clId="{7BE1A0C3-347C-9343-AD50-5497B70087AB}" dt="2022-01-24T06:19:32.330" v="267" actId="113"/>
        <pc:sldMkLst>
          <pc:docMk/>
          <pc:sldMk cId="194667375" sldId="263"/>
        </pc:sldMkLst>
        <pc:spChg chg="mod">
          <ac:chgData name="Ito Koichi" userId="7c59a57e28e385d5" providerId="LiveId" clId="{7BE1A0C3-347C-9343-AD50-5497B70087AB}" dt="2022-01-24T06:19:32.330" v="267" actId="113"/>
          <ac:spMkLst>
            <pc:docMk/>
            <pc:sldMk cId="194667375" sldId="263"/>
            <ac:spMk id="2" creationId="{E01226A3-FD12-4BA7-ABF5-9D408688073E}"/>
          </ac:spMkLst>
        </pc:spChg>
      </pc:sldChg>
      <pc:sldChg chg="addSp delSp modSp add mod">
        <pc:chgData name="Ito Koichi" userId="7c59a57e28e385d5" providerId="LiveId" clId="{7BE1A0C3-347C-9343-AD50-5497B70087AB}" dt="2022-02-06T05:52:30.928" v="8387" actId="207"/>
        <pc:sldMkLst>
          <pc:docMk/>
          <pc:sldMk cId="25861721" sldId="264"/>
        </pc:sldMkLst>
        <pc:spChg chg="mod">
          <ac:chgData name="Ito Koichi" userId="7c59a57e28e385d5" providerId="LiveId" clId="{7BE1A0C3-347C-9343-AD50-5497B70087AB}" dt="2022-01-24T06:23:46.250" v="269"/>
          <ac:spMkLst>
            <pc:docMk/>
            <pc:sldMk cId="25861721" sldId="264"/>
            <ac:spMk id="2" creationId="{5F51176E-0EB4-404D-9296-04C17AE93B13}"/>
          </ac:spMkLst>
        </pc:spChg>
        <pc:spChg chg="mod">
          <ac:chgData name="Ito Koichi" userId="7c59a57e28e385d5" providerId="LiveId" clId="{7BE1A0C3-347C-9343-AD50-5497B70087AB}" dt="2022-02-02T01:00:49.089" v="3558"/>
          <ac:spMkLst>
            <pc:docMk/>
            <pc:sldMk cId="25861721" sldId="264"/>
            <ac:spMk id="4" creationId="{FB81E4D4-6F47-1D41-92EA-7A7858DD01EB}"/>
          </ac:spMkLst>
        </pc:spChg>
        <pc:spChg chg="del">
          <ac:chgData name="Ito Koichi" userId="7c59a57e28e385d5" providerId="LiveId" clId="{7BE1A0C3-347C-9343-AD50-5497B70087AB}" dt="2022-01-24T06:26:36.764" v="271" actId="478"/>
          <ac:spMkLst>
            <pc:docMk/>
            <pc:sldMk cId="25861721" sldId="264"/>
            <ac:spMk id="8" creationId="{4D10D322-EF40-0744-B5B3-90A192ECFD43}"/>
          </ac:spMkLst>
        </pc:spChg>
        <pc:spChg chg="del">
          <ac:chgData name="Ito Koichi" userId="7c59a57e28e385d5" providerId="LiveId" clId="{7BE1A0C3-347C-9343-AD50-5497B70087AB}" dt="2022-01-24T06:26:36.764" v="271" actId="478"/>
          <ac:spMkLst>
            <pc:docMk/>
            <pc:sldMk cId="25861721" sldId="264"/>
            <ac:spMk id="9" creationId="{7830D813-2546-3142-8C1C-A3F7206EA378}"/>
          </ac:spMkLst>
        </pc:spChg>
        <pc:spChg chg="del">
          <ac:chgData name="Ito Koichi" userId="7c59a57e28e385d5" providerId="LiveId" clId="{7BE1A0C3-347C-9343-AD50-5497B70087AB}" dt="2022-01-24T06:26:36.764" v="271" actId="478"/>
          <ac:spMkLst>
            <pc:docMk/>
            <pc:sldMk cId="25861721" sldId="264"/>
            <ac:spMk id="10" creationId="{97E79E67-236F-A04A-A2FB-C4D4FA2D9CB6}"/>
          </ac:spMkLst>
        </pc:spChg>
        <pc:spChg chg="del">
          <ac:chgData name="Ito Koichi" userId="7c59a57e28e385d5" providerId="LiveId" clId="{7BE1A0C3-347C-9343-AD50-5497B70087AB}" dt="2022-01-24T06:26:36.764" v="271" actId="478"/>
          <ac:spMkLst>
            <pc:docMk/>
            <pc:sldMk cId="25861721" sldId="264"/>
            <ac:spMk id="11" creationId="{9967711C-4EA9-6145-8B8A-C65ADFC4A2C6}"/>
          </ac:spMkLst>
        </pc:spChg>
        <pc:spChg chg="del">
          <ac:chgData name="Ito Koichi" userId="7c59a57e28e385d5" providerId="LiveId" clId="{7BE1A0C3-347C-9343-AD50-5497B70087AB}" dt="2022-01-24T06:26:36.764" v="271" actId="478"/>
          <ac:spMkLst>
            <pc:docMk/>
            <pc:sldMk cId="25861721" sldId="264"/>
            <ac:spMk id="12" creationId="{0F590AD0-C866-9742-95BF-694F739C30A6}"/>
          </ac:spMkLst>
        </pc:spChg>
        <pc:graphicFrameChg chg="add mod modGraphic">
          <ac:chgData name="Ito Koichi" userId="7c59a57e28e385d5" providerId="LiveId" clId="{7BE1A0C3-347C-9343-AD50-5497B70087AB}" dt="2022-02-06T05:52:30.928" v="8387" actId="207"/>
          <ac:graphicFrameMkLst>
            <pc:docMk/>
            <pc:sldMk cId="25861721" sldId="264"/>
            <ac:graphicFrameMk id="13" creationId="{6A159AD4-A5E2-E346-99D6-F397D225C8E7}"/>
          </ac:graphicFrameMkLst>
        </pc:graphicFrameChg>
        <pc:picChg chg="del">
          <ac:chgData name="Ito Koichi" userId="7c59a57e28e385d5" providerId="LiveId" clId="{7BE1A0C3-347C-9343-AD50-5497B70087AB}" dt="2022-01-24T06:26:32.522" v="270" actId="478"/>
          <ac:picMkLst>
            <pc:docMk/>
            <pc:sldMk cId="25861721" sldId="264"/>
            <ac:picMk id="7" creationId="{47192CDE-9FF2-F844-978E-F551BE776F82}"/>
          </ac:picMkLst>
        </pc:picChg>
        <pc:picChg chg="add del mod">
          <ac:chgData name="Ito Koichi" userId="7c59a57e28e385d5" providerId="LiveId" clId="{7BE1A0C3-347C-9343-AD50-5497B70087AB}" dt="2022-01-25T03:17:08.992" v="446" actId="478"/>
          <ac:picMkLst>
            <pc:docMk/>
            <pc:sldMk cId="25861721" sldId="264"/>
            <ac:picMk id="15" creationId="{9315E443-EEAB-8B4D-8F6D-1641BEB5CF86}"/>
          </ac:picMkLst>
        </pc:picChg>
        <pc:picChg chg="add mod">
          <ac:chgData name="Ito Koichi" userId="7c59a57e28e385d5" providerId="LiveId" clId="{7BE1A0C3-347C-9343-AD50-5497B70087AB}" dt="2022-01-25T03:24:12.311" v="534" actId="1076"/>
          <ac:picMkLst>
            <pc:docMk/>
            <pc:sldMk cId="25861721" sldId="264"/>
            <ac:picMk id="17" creationId="{3896BD93-0439-BE4E-8315-0EADC83453D8}"/>
          </ac:picMkLst>
        </pc:picChg>
        <pc:picChg chg="add mod modCrop">
          <ac:chgData name="Ito Koichi" userId="7c59a57e28e385d5" providerId="LiveId" clId="{7BE1A0C3-347C-9343-AD50-5497B70087AB}" dt="2022-01-25T03:24:12.311" v="534" actId="1076"/>
          <ac:picMkLst>
            <pc:docMk/>
            <pc:sldMk cId="25861721" sldId="264"/>
            <ac:picMk id="18" creationId="{431CA168-EC67-D04B-BB00-3ECB9327E24D}"/>
          </ac:picMkLst>
        </pc:picChg>
        <pc:picChg chg="add del mod">
          <ac:chgData name="Ito Koichi" userId="7c59a57e28e385d5" providerId="LiveId" clId="{7BE1A0C3-347C-9343-AD50-5497B70087AB}" dt="2022-01-25T03:20:13.620" v="465" actId="931"/>
          <ac:picMkLst>
            <pc:docMk/>
            <pc:sldMk cId="25861721" sldId="264"/>
            <ac:picMk id="20" creationId="{7A995FE4-ACEE-3245-A884-5B6369443F45}"/>
          </ac:picMkLst>
        </pc:picChg>
        <pc:picChg chg="add del mod">
          <ac:chgData name="Ito Koichi" userId="7c59a57e28e385d5" providerId="LiveId" clId="{7BE1A0C3-347C-9343-AD50-5497B70087AB}" dt="2022-01-25T03:20:13.620" v="465" actId="931"/>
          <ac:picMkLst>
            <pc:docMk/>
            <pc:sldMk cId="25861721" sldId="264"/>
            <ac:picMk id="22" creationId="{D268CF58-F2FB-1B48-99CD-8A910058B2BC}"/>
          </ac:picMkLst>
        </pc:picChg>
        <pc:picChg chg="add mod">
          <ac:chgData name="Ito Koichi" userId="7c59a57e28e385d5" providerId="LiveId" clId="{7BE1A0C3-347C-9343-AD50-5497B70087AB}" dt="2022-01-25T03:24:12.311" v="534" actId="1076"/>
          <ac:picMkLst>
            <pc:docMk/>
            <pc:sldMk cId="25861721" sldId="264"/>
            <ac:picMk id="24" creationId="{6798708C-EE63-8C45-8CA5-C8159AF1B7BA}"/>
          </ac:picMkLst>
        </pc:picChg>
        <pc:picChg chg="add mod">
          <ac:chgData name="Ito Koichi" userId="7c59a57e28e385d5" providerId="LiveId" clId="{7BE1A0C3-347C-9343-AD50-5497B70087AB}" dt="2022-01-25T03:24:12.311" v="534" actId="1076"/>
          <ac:picMkLst>
            <pc:docMk/>
            <pc:sldMk cId="25861721" sldId="264"/>
            <ac:picMk id="26" creationId="{35D99616-398C-094A-93B5-46B590A938C5}"/>
          </ac:picMkLst>
        </pc:picChg>
        <pc:picChg chg="add mod modCrop">
          <ac:chgData name="Ito Koichi" userId="7c59a57e28e385d5" providerId="LiveId" clId="{7BE1A0C3-347C-9343-AD50-5497B70087AB}" dt="2022-01-25T03:24:12.311" v="534" actId="1076"/>
          <ac:picMkLst>
            <pc:docMk/>
            <pc:sldMk cId="25861721" sldId="264"/>
            <ac:picMk id="27" creationId="{F86DC66A-023F-A84D-9F7F-C4C45E518462}"/>
          </ac:picMkLst>
        </pc:picChg>
        <pc:cxnChg chg="add del mod">
          <ac:chgData name="Ito Koichi" userId="7c59a57e28e385d5" providerId="LiveId" clId="{7BE1A0C3-347C-9343-AD50-5497B70087AB}" dt="2022-01-25T02:56:16.904" v="275" actId="478"/>
          <ac:cxnSpMkLst>
            <pc:docMk/>
            <pc:sldMk cId="25861721" sldId="264"/>
            <ac:cxnSpMk id="6" creationId="{9D943CAB-E6EC-1845-92E8-BAA74B48DDCE}"/>
          </ac:cxnSpMkLst>
        </pc:cxnChg>
      </pc:sldChg>
      <pc:sldChg chg="addSp delSp modSp new mod">
        <pc:chgData name="Ito Koichi" userId="7c59a57e28e385d5" providerId="LiveId" clId="{7BE1A0C3-347C-9343-AD50-5497B70087AB}" dt="2022-02-06T05:52:38.656" v="8388" actId="207"/>
        <pc:sldMkLst>
          <pc:docMk/>
          <pc:sldMk cId="4156061048" sldId="265"/>
        </pc:sldMkLst>
        <pc:spChg chg="mod">
          <ac:chgData name="Ito Koichi" userId="7c59a57e28e385d5" providerId="LiveId" clId="{7BE1A0C3-347C-9343-AD50-5497B70087AB}" dt="2022-01-25T03:36:11.658" v="544"/>
          <ac:spMkLst>
            <pc:docMk/>
            <pc:sldMk cId="4156061048" sldId="265"/>
            <ac:spMk id="2" creationId="{6C614DC0-D4A0-3F4E-B938-8EE44C13F712}"/>
          </ac:spMkLst>
        </pc:spChg>
        <pc:spChg chg="del">
          <ac:chgData name="Ito Koichi" userId="7c59a57e28e385d5" providerId="LiveId" clId="{7BE1A0C3-347C-9343-AD50-5497B70087AB}" dt="2022-01-25T03:36:37.633" v="548" actId="478"/>
          <ac:spMkLst>
            <pc:docMk/>
            <pc:sldMk cId="4156061048" sldId="265"/>
            <ac:spMk id="3" creationId="{8EACD46B-C673-484E-A480-BDCD7384050A}"/>
          </ac:spMkLst>
        </pc:spChg>
        <pc:spChg chg="mod">
          <ac:chgData name="Ito Koichi" userId="7c59a57e28e385d5" providerId="LiveId" clId="{7BE1A0C3-347C-9343-AD50-5497B70087AB}" dt="2022-02-02T01:01:10.533" v="3567"/>
          <ac:spMkLst>
            <pc:docMk/>
            <pc:sldMk cId="4156061048" sldId="265"/>
            <ac:spMk id="4" creationId="{0D9D2DF9-2801-AF42-9FAF-2EA7A2C7FE47}"/>
          </ac:spMkLst>
        </pc:spChg>
        <pc:spChg chg="add mod">
          <ac:chgData name="Ito Koichi" userId="7c59a57e28e385d5" providerId="LiveId" clId="{7BE1A0C3-347C-9343-AD50-5497B70087AB}" dt="2022-02-02T01:01:08.957" v="3566" actId="20577"/>
          <ac:spMkLst>
            <pc:docMk/>
            <pc:sldMk cId="4156061048" sldId="265"/>
            <ac:spMk id="6" creationId="{E646D711-9F9D-134B-A368-2784845AFDAB}"/>
          </ac:spMkLst>
        </pc:spChg>
        <pc:spChg chg="add mod">
          <ac:chgData name="Ito Koichi" userId="7c59a57e28e385d5" providerId="LiveId" clId="{7BE1A0C3-347C-9343-AD50-5497B70087AB}" dt="2022-01-25T05:33:05.642" v="872" actId="14100"/>
          <ac:spMkLst>
            <pc:docMk/>
            <pc:sldMk cId="4156061048" sldId="265"/>
            <ac:spMk id="7" creationId="{F8DCAB6B-7F21-914E-AEF1-12ABB1CA0813}"/>
          </ac:spMkLst>
        </pc:spChg>
        <pc:spChg chg="add mod">
          <ac:chgData name="Ito Koichi" userId="7c59a57e28e385d5" providerId="LiveId" clId="{7BE1A0C3-347C-9343-AD50-5497B70087AB}" dt="2022-01-25T03:38:24.780" v="566" actId="122"/>
          <ac:spMkLst>
            <pc:docMk/>
            <pc:sldMk cId="4156061048" sldId="265"/>
            <ac:spMk id="8" creationId="{D33190D0-C22E-0244-8462-91E91FAC6E23}"/>
          </ac:spMkLst>
        </pc:spChg>
        <pc:spChg chg="add mod">
          <ac:chgData name="Ito Koichi" userId="7c59a57e28e385d5" providerId="LiveId" clId="{7BE1A0C3-347C-9343-AD50-5497B70087AB}" dt="2022-01-25T03:38:54.464" v="575" actId="122"/>
          <ac:spMkLst>
            <pc:docMk/>
            <pc:sldMk cId="4156061048" sldId="265"/>
            <ac:spMk id="9" creationId="{8940C686-0F99-5347-8B23-1190803EE226}"/>
          </ac:spMkLst>
        </pc:spChg>
        <pc:spChg chg="add del mod">
          <ac:chgData name="Ito Koichi" userId="7c59a57e28e385d5" providerId="LiveId" clId="{7BE1A0C3-347C-9343-AD50-5497B70087AB}" dt="2022-01-25T03:54:47.222" v="619"/>
          <ac:spMkLst>
            <pc:docMk/>
            <pc:sldMk cId="4156061048" sldId="265"/>
            <ac:spMk id="24" creationId="{11C75935-8CF0-824A-AD71-3BFD6DCE5E24}"/>
          </ac:spMkLst>
        </pc:spChg>
        <pc:spChg chg="add del mod">
          <ac:chgData name="Ito Koichi" userId="7c59a57e28e385d5" providerId="LiveId" clId="{7BE1A0C3-347C-9343-AD50-5497B70087AB}" dt="2022-01-25T03:55:00.918" v="625" actId="47"/>
          <ac:spMkLst>
            <pc:docMk/>
            <pc:sldMk cId="4156061048" sldId="265"/>
            <ac:spMk id="25" creationId="{27F77F7A-0175-5940-BA48-23B58CEFE01B}"/>
          </ac:spMkLst>
        </pc:spChg>
        <pc:spChg chg="add del mod">
          <ac:chgData name="Ito Koichi" userId="7c59a57e28e385d5" providerId="LiveId" clId="{7BE1A0C3-347C-9343-AD50-5497B70087AB}" dt="2022-01-25T03:55:23.537" v="639" actId="478"/>
          <ac:spMkLst>
            <pc:docMk/>
            <pc:sldMk cId="4156061048" sldId="265"/>
            <ac:spMk id="26" creationId="{1B956691-E3CA-CB4C-A061-8E72250A25C7}"/>
          </ac:spMkLst>
        </pc:spChg>
        <pc:spChg chg="add del mod">
          <ac:chgData name="Ito Koichi" userId="7c59a57e28e385d5" providerId="LiveId" clId="{7BE1A0C3-347C-9343-AD50-5497B70087AB}" dt="2022-01-25T03:55:13.561" v="628" actId="478"/>
          <ac:spMkLst>
            <pc:docMk/>
            <pc:sldMk cId="4156061048" sldId="265"/>
            <ac:spMk id="27" creationId="{7D5893DC-BA8A-1E4B-B340-E136A7B16F11}"/>
          </ac:spMkLst>
        </pc:spChg>
        <pc:spChg chg="add del mod">
          <ac:chgData name="Ito Koichi" userId="7c59a57e28e385d5" providerId="LiveId" clId="{7BE1A0C3-347C-9343-AD50-5497B70087AB}" dt="2022-01-25T03:57:41.014" v="660" actId="767"/>
          <ac:spMkLst>
            <pc:docMk/>
            <pc:sldMk cId="4156061048" sldId="265"/>
            <ac:spMk id="28" creationId="{2A4EE622-46C7-6747-9A08-C5930C654304}"/>
          </ac:spMkLst>
        </pc:spChg>
        <pc:spChg chg="add del mod">
          <ac:chgData name="Ito Koichi" userId="7c59a57e28e385d5" providerId="LiveId" clId="{7BE1A0C3-347C-9343-AD50-5497B70087AB}" dt="2022-01-25T04:01:22.177" v="706" actId="767"/>
          <ac:spMkLst>
            <pc:docMk/>
            <pc:sldMk cId="4156061048" sldId="265"/>
            <ac:spMk id="29" creationId="{BDAA5EE2-43ED-9348-96A9-9BD53AA344FB}"/>
          </ac:spMkLst>
        </pc:spChg>
        <pc:spChg chg="add mod">
          <ac:chgData name="Ito Koichi" userId="7c59a57e28e385d5" providerId="LiveId" clId="{7BE1A0C3-347C-9343-AD50-5497B70087AB}" dt="2022-02-06T05:52:38.656" v="8388" actId="207"/>
          <ac:spMkLst>
            <pc:docMk/>
            <pc:sldMk cId="4156061048" sldId="265"/>
            <ac:spMk id="31" creationId="{46856D70-A0FB-D440-A34C-B608A10BE677}"/>
          </ac:spMkLst>
        </pc:spChg>
        <pc:picChg chg="add mod modCrop">
          <ac:chgData name="Ito Koichi" userId="7c59a57e28e385d5" providerId="LiveId" clId="{7BE1A0C3-347C-9343-AD50-5497B70087AB}" dt="2022-01-25T03:55:47.810" v="654" actId="1076"/>
          <ac:picMkLst>
            <pc:docMk/>
            <pc:sldMk cId="4156061048" sldId="265"/>
            <ac:picMk id="22" creationId="{F04F8952-6327-994E-9CB3-70EDDEAC1D12}"/>
          </ac:picMkLst>
        </pc:picChg>
        <pc:picChg chg="add mod modCrop">
          <ac:chgData name="Ito Koichi" userId="7c59a57e28e385d5" providerId="LiveId" clId="{7BE1A0C3-347C-9343-AD50-5497B70087AB}" dt="2022-01-25T04:02:38.330" v="760" actId="1076"/>
          <ac:picMkLst>
            <pc:docMk/>
            <pc:sldMk cId="4156061048" sldId="265"/>
            <ac:picMk id="23" creationId="{FC3AF28F-66E0-0242-85B7-BFD89CE39962}"/>
          </ac:picMkLst>
        </pc:picChg>
        <pc:cxnChg chg="add mod">
          <ac:chgData name="Ito Koichi" userId="7c59a57e28e385d5" providerId="LiveId" clId="{7BE1A0C3-347C-9343-AD50-5497B70087AB}" dt="2022-02-04T12:12:43.407" v="6612" actId="1076"/>
          <ac:cxnSpMkLst>
            <pc:docMk/>
            <pc:sldMk cId="4156061048" sldId="265"/>
            <ac:cxnSpMk id="11" creationId="{A0F763A6-D16A-CA41-B41E-865A2CFACBA3}"/>
          </ac:cxnSpMkLst>
        </pc:cxnChg>
      </pc:sldChg>
      <pc:sldChg chg="modSp add mod">
        <pc:chgData name="Ito Koichi" userId="7c59a57e28e385d5" providerId="LiveId" clId="{7BE1A0C3-347C-9343-AD50-5497B70087AB}" dt="2022-01-25T03:32:52.627" v="543" actId="113"/>
        <pc:sldMkLst>
          <pc:docMk/>
          <pc:sldMk cId="351976269" sldId="266"/>
        </pc:sldMkLst>
        <pc:spChg chg="mod">
          <ac:chgData name="Ito Koichi" userId="7c59a57e28e385d5" providerId="LiveId" clId="{7BE1A0C3-347C-9343-AD50-5497B70087AB}" dt="2022-01-25T03:32:52.627" v="543" actId="113"/>
          <ac:spMkLst>
            <pc:docMk/>
            <pc:sldMk cId="351976269" sldId="266"/>
            <ac:spMk id="2" creationId="{E01226A3-FD12-4BA7-ABF5-9D408688073E}"/>
          </ac:spMkLst>
        </pc:spChg>
      </pc:sldChg>
      <pc:sldChg chg="modSp add mod">
        <pc:chgData name="Ito Koichi" userId="7c59a57e28e385d5" providerId="LiveId" clId="{7BE1A0C3-347C-9343-AD50-5497B70087AB}" dt="2022-01-25T05:39:46.428" v="1088" actId="113"/>
        <pc:sldMkLst>
          <pc:docMk/>
          <pc:sldMk cId="1901022434" sldId="267"/>
        </pc:sldMkLst>
        <pc:spChg chg="mod">
          <ac:chgData name="Ito Koichi" userId="7c59a57e28e385d5" providerId="LiveId" clId="{7BE1A0C3-347C-9343-AD50-5497B70087AB}" dt="2022-01-25T05:39:46.428" v="1088" actId="113"/>
          <ac:spMkLst>
            <pc:docMk/>
            <pc:sldMk cId="1901022434" sldId="267"/>
            <ac:spMk id="2" creationId="{E01226A3-FD12-4BA7-ABF5-9D408688073E}"/>
          </ac:spMkLst>
        </pc:spChg>
      </pc:sldChg>
      <pc:sldChg chg="modSp new del mod">
        <pc:chgData name="Ito Koichi" userId="7c59a57e28e385d5" providerId="LiveId" clId="{7BE1A0C3-347C-9343-AD50-5497B70087AB}" dt="2022-01-25T03:37:01.365" v="556" actId="2696"/>
        <pc:sldMkLst>
          <pc:docMk/>
          <pc:sldMk cId="3267502280" sldId="267"/>
        </pc:sldMkLst>
        <pc:spChg chg="mod">
          <ac:chgData name="Ito Koichi" userId="7c59a57e28e385d5" providerId="LiveId" clId="{7BE1A0C3-347C-9343-AD50-5497B70087AB}" dt="2022-01-25T03:36:52.954" v="551" actId="20577"/>
          <ac:spMkLst>
            <pc:docMk/>
            <pc:sldMk cId="3267502280" sldId="267"/>
            <ac:spMk id="3" creationId="{A8BB82A2-6609-7947-96B4-3F46F4C16D2E}"/>
          </ac:spMkLst>
        </pc:spChg>
        <pc:spChg chg="mod">
          <ac:chgData name="Ito Koichi" userId="7c59a57e28e385d5" providerId="LiveId" clId="{7BE1A0C3-347C-9343-AD50-5497B70087AB}" dt="2022-01-25T03:36:53.434" v="552" actId="20577"/>
          <ac:spMkLst>
            <pc:docMk/>
            <pc:sldMk cId="3267502280" sldId="267"/>
            <ac:spMk id="4" creationId="{FA46FC15-5F6C-9A42-80A3-FE6DA174A9D9}"/>
          </ac:spMkLst>
        </pc:spChg>
        <pc:spChg chg="mod">
          <ac:chgData name="Ito Koichi" userId="7c59a57e28e385d5" providerId="LiveId" clId="{7BE1A0C3-347C-9343-AD50-5497B70087AB}" dt="2022-01-25T03:36:50.731" v="549" actId="20577"/>
          <ac:spMkLst>
            <pc:docMk/>
            <pc:sldMk cId="3267502280" sldId="267"/>
            <ac:spMk id="5" creationId="{EE19D83B-0600-724E-9E66-821E3DBC8AD6}"/>
          </ac:spMkLst>
        </pc:spChg>
        <pc:spChg chg="mod">
          <ac:chgData name="Ito Koichi" userId="7c59a57e28e385d5" providerId="LiveId" clId="{7BE1A0C3-347C-9343-AD50-5497B70087AB}" dt="2022-01-25T03:36:52.388" v="550" actId="20577"/>
          <ac:spMkLst>
            <pc:docMk/>
            <pc:sldMk cId="3267502280" sldId="267"/>
            <ac:spMk id="6" creationId="{C7CB7906-EFC4-F949-BE6D-2AC7B71CF247}"/>
          </ac:spMkLst>
        </pc:spChg>
      </pc:sldChg>
      <pc:sldChg chg="addSp delSp modSp new mod">
        <pc:chgData name="Ito Koichi" userId="7c59a57e28e385d5" providerId="LiveId" clId="{7BE1A0C3-347C-9343-AD50-5497B70087AB}" dt="2022-02-02T01:01:15.432" v="3568"/>
        <pc:sldMkLst>
          <pc:docMk/>
          <pc:sldMk cId="4062278478" sldId="268"/>
        </pc:sldMkLst>
        <pc:spChg chg="mod">
          <ac:chgData name="Ito Koichi" userId="7c59a57e28e385d5" providerId="LiveId" clId="{7BE1A0C3-347C-9343-AD50-5497B70087AB}" dt="2022-01-25T05:40:07.754" v="1090"/>
          <ac:spMkLst>
            <pc:docMk/>
            <pc:sldMk cId="4062278478" sldId="268"/>
            <ac:spMk id="2" creationId="{7A4247B2-5249-5248-B8AE-A7B09D6710DC}"/>
          </ac:spMkLst>
        </pc:spChg>
        <pc:spChg chg="del">
          <ac:chgData name="Ito Koichi" userId="7c59a57e28e385d5" providerId="LiveId" clId="{7BE1A0C3-347C-9343-AD50-5497B70087AB}" dt="2022-01-25T05:46:43.556" v="1132" actId="478"/>
          <ac:spMkLst>
            <pc:docMk/>
            <pc:sldMk cId="4062278478" sldId="268"/>
            <ac:spMk id="3" creationId="{D5FE02B6-E99B-7A42-820C-6D40A545DCE2}"/>
          </ac:spMkLst>
        </pc:spChg>
        <pc:spChg chg="mod">
          <ac:chgData name="Ito Koichi" userId="7c59a57e28e385d5" providerId="LiveId" clId="{7BE1A0C3-347C-9343-AD50-5497B70087AB}" dt="2022-02-02T01:01:15.432" v="3568"/>
          <ac:spMkLst>
            <pc:docMk/>
            <pc:sldMk cId="4062278478" sldId="268"/>
            <ac:spMk id="4" creationId="{F0357929-02C2-C74C-A189-9F0C6DCC3C34}"/>
          </ac:spMkLst>
        </pc:spChg>
        <pc:spChg chg="add mod">
          <ac:chgData name="Ito Koichi" userId="7c59a57e28e385d5" providerId="LiveId" clId="{7BE1A0C3-347C-9343-AD50-5497B70087AB}" dt="2022-01-26T01:59:35.374" v="1375" actId="20577"/>
          <ac:spMkLst>
            <pc:docMk/>
            <pc:sldMk cId="4062278478" sldId="268"/>
            <ac:spMk id="8" creationId="{150B18A2-40EA-4543-91EF-FB5D1EA694B8}"/>
          </ac:spMkLst>
        </pc:spChg>
        <pc:spChg chg="add mod">
          <ac:chgData name="Ito Koichi" userId="7c59a57e28e385d5" providerId="LiveId" clId="{7BE1A0C3-347C-9343-AD50-5497B70087AB}" dt="2022-01-26T02:07:41.284" v="1425" actId="5793"/>
          <ac:spMkLst>
            <pc:docMk/>
            <pc:sldMk cId="4062278478" sldId="268"/>
            <ac:spMk id="9" creationId="{EF46FD93-006D-1841-9BF2-A76B949BB2B1}"/>
          </ac:spMkLst>
        </pc:spChg>
        <pc:spChg chg="add mod">
          <ac:chgData name="Ito Koichi" userId="7c59a57e28e385d5" providerId="LiveId" clId="{7BE1A0C3-347C-9343-AD50-5497B70087AB}" dt="2022-01-25T05:48:34.964" v="1194" actId="20577"/>
          <ac:spMkLst>
            <pc:docMk/>
            <pc:sldMk cId="4062278478" sldId="268"/>
            <ac:spMk id="10" creationId="{A5D1A0BB-C2B2-B64F-8DA3-211FB43442A7}"/>
          </ac:spMkLst>
        </pc:spChg>
        <pc:spChg chg="add mod">
          <ac:chgData name="Ito Koichi" userId="7c59a57e28e385d5" providerId="LiveId" clId="{7BE1A0C3-347C-9343-AD50-5497B70087AB}" dt="2022-01-25T05:48:37.877" v="1197" actId="20577"/>
          <ac:spMkLst>
            <pc:docMk/>
            <pc:sldMk cId="4062278478" sldId="268"/>
            <ac:spMk id="11" creationId="{C2C320BC-0EED-FE4E-A091-F96420DA7C32}"/>
          </ac:spMkLst>
        </pc:spChg>
        <pc:spChg chg="add del mod">
          <ac:chgData name="Ito Koichi" userId="7c59a57e28e385d5" providerId="LiveId" clId="{7BE1A0C3-347C-9343-AD50-5497B70087AB}" dt="2022-01-25T05:48:32.971" v="1191" actId="478"/>
          <ac:spMkLst>
            <pc:docMk/>
            <pc:sldMk cId="4062278478" sldId="268"/>
            <ac:spMk id="12" creationId="{64DEA824-3726-9D4B-9F0F-08797E87804C}"/>
          </ac:spMkLst>
        </pc:spChg>
        <pc:spChg chg="add del mod">
          <ac:chgData name="Ito Koichi" userId="7c59a57e28e385d5" providerId="LiveId" clId="{7BE1A0C3-347C-9343-AD50-5497B70087AB}" dt="2022-01-25T05:49:55.291" v="1228"/>
          <ac:spMkLst>
            <pc:docMk/>
            <pc:sldMk cId="4062278478" sldId="268"/>
            <ac:spMk id="19" creationId="{97C05ADF-DF18-3F43-B507-3CC42B726587}"/>
          </ac:spMkLst>
        </pc:spChg>
        <pc:graphicFrameChg chg="add del mod modGraphic">
          <ac:chgData name="Ito Koichi" userId="7c59a57e28e385d5" providerId="LiveId" clId="{7BE1A0C3-347C-9343-AD50-5497B70087AB}" dt="2022-01-25T05:45:52.619" v="1129" actId="478"/>
          <ac:graphicFrameMkLst>
            <pc:docMk/>
            <pc:sldMk cId="4062278478" sldId="268"/>
            <ac:graphicFrameMk id="6" creationId="{14BC8318-7517-BF44-84D1-6C76E6C3BF5D}"/>
          </ac:graphicFrameMkLst>
        </pc:graphicFrameChg>
        <pc:graphicFrameChg chg="add del modGraphic">
          <ac:chgData name="Ito Koichi" userId="7c59a57e28e385d5" providerId="LiveId" clId="{7BE1A0C3-347C-9343-AD50-5497B70087AB}" dt="2022-01-25T05:46:30.284" v="1131" actId="1032"/>
          <ac:graphicFrameMkLst>
            <pc:docMk/>
            <pc:sldMk cId="4062278478" sldId="268"/>
            <ac:graphicFrameMk id="7" creationId="{537E7807-3727-A149-A393-675A47C26AFF}"/>
          </ac:graphicFrameMkLst>
        </pc:graphicFrameChg>
        <pc:picChg chg="add mod">
          <ac:chgData name="Ito Koichi" userId="7c59a57e28e385d5" providerId="LiveId" clId="{7BE1A0C3-347C-9343-AD50-5497B70087AB}" dt="2022-01-26T01:58:09.592" v="1327" actId="1076"/>
          <ac:picMkLst>
            <pc:docMk/>
            <pc:sldMk cId="4062278478" sldId="268"/>
            <ac:picMk id="21" creationId="{7B1A0B26-22AE-0B48-9D0D-0A0AC1E263D8}"/>
          </ac:picMkLst>
        </pc:picChg>
        <pc:picChg chg="add mod">
          <ac:chgData name="Ito Koichi" userId="7c59a57e28e385d5" providerId="LiveId" clId="{7BE1A0C3-347C-9343-AD50-5497B70087AB}" dt="2022-01-26T02:08:39.908" v="1430" actId="1076"/>
          <ac:picMkLst>
            <pc:docMk/>
            <pc:sldMk cId="4062278478" sldId="268"/>
            <ac:picMk id="23" creationId="{7C4737B2-BEFF-1F41-A242-BD62ABD8FEB2}"/>
          </ac:picMkLst>
        </pc:picChg>
        <pc:cxnChg chg="add mod">
          <ac:chgData name="Ito Koichi" userId="7c59a57e28e385d5" providerId="LiveId" clId="{7BE1A0C3-347C-9343-AD50-5497B70087AB}" dt="2022-01-25T05:49:35.037" v="1208" actId="1582"/>
          <ac:cxnSpMkLst>
            <pc:docMk/>
            <pc:sldMk cId="4062278478" sldId="268"/>
            <ac:cxnSpMk id="14" creationId="{7ADCFF1D-EEC6-3640-ADA4-D510578A7A7D}"/>
          </ac:cxnSpMkLst>
        </pc:cxnChg>
      </pc:sldChg>
      <pc:sldChg chg="modSp new del mod">
        <pc:chgData name="Ito Koichi" userId="7c59a57e28e385d5" providerId="LiveId" clId="{7BE1A0C3-347C-9343-AD50-5497B70087AB}" dt="2022-02-04T13:58:17.438" v="7226" actId="2696"/>
        <pc:sldMkLst>
          <pc:docMk/>
          <pc:sldMk cId="3172124207" sldId="269"/>
        </pc:sldMkLst>
        <pc:spChg chg="mod">
          <ac:chgData name="Ito Koichi" userId="7c59a57e28e385d5" providerId="LiveId" clId="{7BE1A0C3-347C-9343-AD50-5497B70087AB}" dt="2022-01-25T05:47:03.920" v="1137" actId="20577"/>
          <ac:spMkLst>
            <pc:docMk/>
            <pc:sldMk cId="3172124207" sldId="269"/>
            <ac:spMk id="3" creationId="{1B0A30AF-4F0C-A54D-89C5-55782BD7E2D7}"/>
          </ac:spMkLst>
        </pc:spChg>
        <pc:spChg chg="mod">
          <ac:chgData name="Ito Koichi" userId="7c59a57e28e385d5" providerId="LiveId" clId="{7BE1A0C3-347C-9343-AD50-5497B70087AB}" dt="2022-01-25T05:47:05.804" v="1139" actId="20577"/>
          <ac:spMkLst>
            <pc:docMk/>
            <pc:sldMk cId="3172124207" sldId="269"/>
            <ac:spMk id="4" creationId="{B6B7E462-C010-9F4B-A6B0-8EEB858326A9}"/>
          </ac:spMkLst>
        </pc:spChg>
        <pc:spChg chg="mod">
          <ac:chgData name="Ito Koichi" userId="7c59a57e28e385d5" providerId="LiveId" clId="{7BE1A0C3-347C-9343-AD50-5497B70087AB}" dt="2022-01-25T05:47:03.362" v="1136" actId="20577"/>
          <ac:spMkLst>
            <pc:docMk/>
            <pc:sldMk cId="3172124207" sldId="269"/>
            <ac:spMk id="5" creationId="{586C9E18-9188-A442-8CBA-572DFEDB3F6A}"/>
          </ac:spMkLst>
        </pc:spChg>
        <pc:spChg chg="mod">
          <ac:chgData name="Ito Koichi" userId="7c59a57e28e385d5" providerId="LiveId" clId="{7BE1A0C3-347C-9343-AD50-5497B70087AB}" dt="2022-01-25T05:47:05.141" v="1138" actId="20577"/>
          <ac:spMkLst>
            <pc:docMk/>
            <pc:sldMk cId="3172124207" sldId="269"/>
            <ac:spMk id="6" creationId="{E2483612-0374-D646-B760-660CF87FA620}"/>
          </ac:spMkLst>
        </pc:spChg>
      </pc:sldChg>
      <pc:sldChg chg="addSp delSp modSp new mod">
        <pc:chgData name="Ito Koichi" userId="7c59a57e28e385d5" providerId="LiveId" clId="{7BE1A0C3-347C-9343-AD50-5497B70087AB}" dt="2022-03-08T03:04:54.585" v="10339" actId="1076"/>
        <pc:sldMkLst>
          <pc:docMk/>
          <pc:sldMk cId="3881752054" sldId="270"/>
        </pc:sldMkLst>
        <pc:spChg chg="mod">
          <ac:chgData name="Ito Koichi" userId="7c59a57e28e385d5" providerId="LiveId" clId="{7BE1A0C3-347C-9343-AD50-5497B70087AB}" dt="2022-01-27T03:20:01.616" v="1433" actId="20577"/>
          <ac:spMkLst>
            <pc:docMk/>
            <pc:sldMk cId="3881752054" sldId="270"/>
            <ac:spMk id="2" creationId="{18772FE0-9CC7-8E4F-A04D-DFD4A2C11F45}"/>
          </ac:spMkLst>
        </pc:spChg>
        <pc:spChg chg="del">
          <ac:chgData name="Ito Koichi" userId="7c59a57e28e385d5" providerId="LiveId" clId="{7BE1A0C3-347C-9343-AD50-5497B70087AB}" dt="2022-01-27T03:20:43.513" v="1439" actId="478"/>
          <ac:spMkLst>
            <pc:docMk/>
            <pc:sldMk cId="3881752054" sldId="270"/>
            <ac:spMk id="3" creationId="{78D3D724-06AF-9341-8C8C-BEB2A257D585}"/>
          </ac:spMkLst>
        </pc:spChg>
        <pc:spChg chg="mod">
          <ac:chgData name="Ito Koichi" userId="7c59a57e28e385d5" providerId="LiveId" clId="{7BE1A0C3-347C-9343-AD50-5497B70087AB}" dt="2022-02-02T01:01:19.161" v="3569"/>
          <ac:spMkLst>
            <pc:docMk/>
            <pc:sldMk cId="3881752054" sldId="270"/>
            <ac:spMk id="4" creationId="{2A5F6972-5246-AF49-B228-DA9DB031686D}"/>
          </ac:spMkLst>
        </pc:spChg>
        <pc:spChg chg="add del mod">
          <ac:chgData name="Ito Koichi" userId="7c59a57e28e385d5" providerId="LiveId" clId="{7BE1A0C3-347C-9343-AD50-5497B70087AB}" dt="2022-01-27T03:20:42.290" v="1438"/>
          <ac:spMkLst>
            <pc:docMk/>
            <pc:sldMk cId="3881752054" sldId="270"/>
            <ac:spMk id="6" creationId="{32983AA7-6181-D64F-8729-D8799C51E949}"/>
          </ac:spMkLst>
        </pc:spChg>
        <pc:spChg chg="add del mod">
          <ac:chgData name="Ito Koichi" userId="7c59a57e28e385d5" providerId="LiveId" clId="{7BE1A0C3-347C-9343-AD50-5497B70087AB}" dt="2022-01-27T03:20:42.290" v="1438"/>
          <ac:spMkLst>
            <pc:docMk/>
            <pc:sldMk cId="3881752054" sldId="270"/>
            <ac:spMk id="7" creationId="{ECC77E2C-9A64-9543-97D3-84E4032D3270}"/>
          </ac:spMkLst>
        </pc:spChg>
        <pc:spChg chg="add del mod">
          <ac:chgData name="Ito Koichi" userId="7c59a57e28e385d5" providerId="LiveId" clId="{7BE1A0C3-347C-9343-AD50-5497B70087AB}" dt="2022-01-27T03:20:42.290" v="1438"/>
          <ac:spMkLst>
            <pc:docMk/>
            <pc:sldMk cId="3881752054" sldId="270"/>
            <ac:spMk id="8" creationId="{0587CE72-55C9-2341-BB75-D33E3A1EF26E}"/>
          </ac:spMkLst>
        </pc:spChg>
        <pc:spChg chg="add del mod">
          <ac:chgData name="Ito Koichi" userId="7c59a57e28e385d5" providerId="LiveId" clId="{7BE1A0C3-347C-9343-AD50-5497B70087AB}" dt="2022-01-27T03:20:42.290" v="1438"/>
          <ac:spMkLst>
            <pc:docMk/>
            <pc:sldMk cId="3881752054" sldId="270"/>
            <ac:spMk id="9" creationId="{0215EBC1-9BF9-0045-BE77-8FB0E0DD8291}"/>
          </ac:spMkLst>
        </pc:spChg>
        <pc:spChg chg="add mod">
          <ac:chgData name="Ito Koichi" userId="7c59a57e28e385d5" providerId="LiveId" clId="{7BE1A0C3-347C-9343-AD50-5497B70087AB}" dt="2022-01-27T03:54:19.685" v="1638" actId="20577"/>
          <ac:spMkLst>
            <pc:docMk/>
            <pc:sldMk cId="3881752054" sldId="270"/>
            <ac:spMk id="10" creationId="{DDD61ABB-EBDC-FA49-AD27-5698C4A92B75}"/>
          </ac:spMkLst>
        </pc:spChg>
        <pc:spChg chg="add mod">
          <ac:chgData name="Ito Koichi" userId="7c59a57e28e385d5" providerId="LiveId" clId="{7BE1A0C3-347C-9343-AD50-5497B70087AB}" dt="2022-01-27T03:54:58.588" v="1690" actId="20577"/>
          <ac:spMkLst>
            <pc:docMk/>
            <pc:sldMk cId="3881752054" sldId="270"/>
            <ac:spMk id="11" creationId="{F5B39EE1-BB9B-424C-9291-6407D24D21B1}"/>
          </ac:spMkLst>
        </pc:spChg>
        <pc:spChg chg="add mod">
          <ac:chgData name="Ito Koichi" userId="7c59a57e28e385d5" providerId="LiveId" clId="{7BE1A0C3-347C-9343-AD50-5497B70087AB}" dt="2022-01-27T03:48:16.365" v="1503" actId="113"/>
          <ac:spMkLst>
            <pc:docMk/>
            <pc:sldMk cId="3881752054" sldId="270"/>
            <ac:spMk id="12" creationId="{8C33D614-2387-A049-A2EF-207636334C91}"/>
          </ac:spMkLst>
        </pc:spChg>
        <pc:spChg chg="add mod">
          <ac:chgData name="Ito Koichi" userId="7c59a57e28e385d5" providerId="LiveId" clId="{7BE1A0C3-347C-9343-AD50-5497B70087AB}" dt="2022-01-27T03:48:17.877" v="1504" actId="113"/>
          <ac:spMkLst>
            <pc:docMk/>
            <pc:sldMk cId="3881752054" sldId="270"/>
            <ac:spMk id="13" creationId="{DE3C94E6-FF50-CC42-97EF-1919166259FF}"/>
          </ac:spMkLst>
        </pc:spChg>
        <pc:spChg chg="add del mod">
          <ac:chgData name="Ito Koichi" userId="7c59a57e28e385d5" providerId="LiveId" clId="{7BE1A0C3-347C-9343-AD50-5497B70087AB}" dt="2022-01-27T03:47:53.088" v="1464" actId="767"/>
          <ac:spMkLst>
            <pc:docMk/>
            <pc:sldMk cId="3881752054" sldId="270"/>
            <ac:spMk id="15" creationId="{F005175B-F3AB-4143-8422-0636975322F9}"/>
          </ac:spMkLst>
        </pc:spChg>
        <pc:spChg chg="add del mod">
          <ac:chgData name="Ito Koichi" userId="7c59a57e28e385d5" providerId="LiveId" clId="{7BE1A0C3-347C-9343-AD50-5497B70087AB}" dt="2022-01-27T03:52:30.927" v="1569"/>
          <ac:spMkLst>
            <pc:docMk/>
            <pc:sldMk cId="3881752054" sldId="270"/>
            <ac:spMk id="24" creationId="{401923FE-3396-844B-B524-AF053212D8A8}"/>
          </ac:spMkLst>
        </pc:spChg>
        <pc:picChg chg="add del mod">
          <ac:chgData name="Ito Koichi" userId="7c59a57e28e385d5" providerId="LiveId" clId="{7BE1A0C3-347C-9343-AD50-5497B70087AB}" dt="2022-01-27T03:48:51.691" v="1511" actId="478"/>
          <ac:picMkLst>
            <pc:docMk/>
            <pc:sldMk cId="3881752054" sldId="270"/>
            <ac:picMk id="17" creationId="{FEE0E82C-3C86-DB45-8F14-B0A0FA77C91D}"/>
          </ac:picMkLst>
        </pc:picChg>
        <pc:picChg chg="add mod">
          <ac:chgData name="Ito Koichi" userId="7c59a57e28e385d5" providerId="LiveId" clId="{7BE1A0C3-347C-9343-AD50-5497B70087AB}" dt="2022-01-27T03:54:16.046" v="1637" actId="1076"/>
          <ac:picMkLst>
            <pc:docMk/>
            <pc:sldMk cId="3881752054" sldId="270"/>
            <ac:picMk id="19" creationId="{61104B47-EC1A-1A41-A28A-600054A7E1ED}"/>
          </ac:picMkLst>
        </pc:picChg>
        <pc:picChg chg="add del mod">
          <ac:chgData name="Ito Koichi" userId="7c59a57e28e385d5" providerId="LiveId" clId="{7BE1A0C3-347C-9343-AD50-5497B70087AB}" dt="2022-01-27T03:50:17.508" v="1525" actId="478"/>
          <ac:picMkLst>
            <pc:docMk/>
            <pc:sldMk cId="3881752054" sldId="270"/>
            <ac:picMk id="21" creationId="{B24A3656-8C5B-BC4F-9017-8096344B079C}"/>
          </ac:picMkLst>
        </pc:picChg>
        <pc:picChg chg="add del mod">
          <ac:chgData name="Ito Koichi" userId="7c59a57e28e385d5" providerId="LiveId" clId="{7BE1A0C3-347C-9343-AD50-5497B70087AB}" dt="2022-01-27T03:53:03.900" v="1578" actId="478"/>
          <ac:picMkLst>
            <pc:docMk/>
            <pc:sldMk cId="3881752054" sldId="270"/>
            <ac:picMk id="23" creationId="{E5E69134-2B07-9045-A08D-DAF1EEC7AEAE}"/>
          </ac:picMkLst>
        </pc:picChg>
        <pc:picChg chg="add mod">
          <ac:chgData name="Ito Koichi" userId="7c59a57e28e385d5" providerId="LiveId" clId="{7BE1A0C3-347C-9343-AD50-5497B70087AB}" dt="2022-03-08T03:04:54.585" v="10339" actId="1076"/>
          <ac:picMkLst>
            <pc:docMk/>
            <pc:sldMk cId="3881752054" sldId="270"/>
            <ac:picMk id="26" creationId="{8997088E-8B30-2F48-A216-01C3EC797688}"/>
          </ac:picMkLst>
        </pc:picChg>
        <pc:cxnChg chg="add mod">
          <ac:chgData name="Ito Koichi" userId="7c59a57e28e385d5" providerId="LiveId" clId="{7BE1A0C3-347C-9343-AD50-5497B70087AB}" dt="2022-01-27T03:47:41.546" v="1461"/>
          <ac:cxnSpMkLst>
            <pc:docMk/>
            <pc:sldMk cId="3881752054" sldId="270"/>
            <ac:cxnSpMk id="14" creationId="{465315AF-7206-7D43-B4A3-C2A861239C5F}"/>
          </ac:cxnSpMkLst>
        </pc:cxnChg>
      </pc:sldChg>
      <pc:sldChg chg="addSp delSp modSp add mod">
        <pc:chgData name="Ito Koichi" userId="7c59a57e28e385d5" providerId="LiveId" clId="{7BE1A0C3-347C-9343-AD50-5497B70087AB}" dt="2022-02-02T01:01:22.472" v="3570"/>
        <pc:sldMkLst>
          <pc:docMk/>
          <pc:sldMk cId="3019570019" sldId="271"/>
        </pc:sldMkLst>
        <pc:spChg chg="mod">
          <ac:chgData name="Ito Koichi" userId="7c59a57e28e385d5" providerId="LiveId" clId="{7BE1A0C3-347C-9343-AD50-5497B70087AB}" dt="2022-01-27T03:56:54.391" v="1694"/>
          <ac:spMkLst>
            <pc:docMk/>
            <pc:sldMk cId="3019570019" sldId="271"/>
            <ac:spMk id="2" creationId="{18772FE0-9CC7-8E4F-A04D-DFD4A2C11F45}"/>
          </ac:spMkLst>
        </pc:spChg>
        <pc:spChg chg="mod">
          <ac:chgData name="Ito Koichi" userId="7c59a57e28e385d5" providerId="LiveId" clId="{7BE1A0C3-347C-9343-AD50-5497B70087AB}" dt="2022-02-02T01:01:22.472" v="3570"/>
          <ac:spMkLst>
            <pc:docMk/>
            <pc:sldMk cId="3019570019" sldId="271"/>
            <ac:spMk id="4" creationId="{2A5F6972-5246-AF49-B228-DA9DB031686D}"/>
          </ac:spMkLst>
        </pc:spChg>
        <pc:spChg chg="mod">
          <ac:chgData name="Ito Koichi" userId="7c59a57e28e385d5" providerId="LiveId" clId="{7BE1A0C3-347C-9343-AD50-5497B70087AB}" dt="2022-01-27T04:08:15.175" v="2004" actId="20577"/>
          <ac:spMkLst>
            <pc:docMk/>
            <pc:sldMk cId="3019570019" sldId="271"/>
            <ac:spMk id="10" creationId="{DDD61ABB-EBDC-FA49-AD27-5698C4A92B75}"/>
          </ac:spMkLst>
        </pc:spChg>
        <pc:spChg chg="del">
          <ac:chgData name="Ito Koichi" userId="7c59a57e28e385d5" providerId="LiveId" clId="{7BE1A0C3-347C-9343-AD50-5497B70087AB}" dt="2022-01-27T04:03:43.822" v="1738" actId="478"/>
          <ac:spMkLst>
            <pc:docMk/>
            <pc:sldMk cId="3019570019" sldId="271"/>
            <ac:spMk id="11" creationId="{F5B39EE1-BB9B-424C-9291-6407D24D21B1}"/>
          </ac:spMkLst>
        </pc:spChg>
        <pc:spChg chg="mod">
          <ac:chgData name="Ito Koichi" userId="7c59a57e28e385d5" providerId="LiveId" clId="{7BE1A0C3-347C-9343-AD50-5497B70087AB}" dt="2022-01-27T04:03:09.081" v="1723" actId="20577"/>
          <ac:spMkLst>
            <pc:docMk/>
            <pc:sldMk cId="3019570019" sldId="271"/>
            <ac:spMk id="12" creationId="{8C33D614-2387-A049-A2EF-207636334C91}"/>
          </ac:spMkLst>
        </pc:spChg>
        <pc:spChg chg="del">
          <ac:chgData name="Ito Koichi" userId="7c59a57e28e385d5" providerId="LiveId" clId="{7BE1A0C3-347C-9343-AD50-5497B70087AB}" dt="2022-01-27T04:03:14.744" v="1725" actId="478"/>
          <ac:spMkLst>
            <pc:docMk/>
            <pc:sldMk cId="3019570019" sldId="271"/>
            <ac:spMk id="13" creationId="{DE3C94E6-FF50-CC42-97EF-1919166259FF}"/>
          </ac:spMkLst>
        </pc:spChg>
        <pc:picChg chg="add mod">
          <ac:chgData name="Ito Koichi" userId="7c59a57e28e385d5" providerId="LiveId" clId="{7BE1A0C3-347C-9343-AD50-5497B70087AB}" dt="2022-01-27T04:03:50.487" v="1741" actId="1076"/>
          <ac:picMkLst>
            <pc:docMk/>
            <pc:sldMk cId="3019570019" sldId="271"/>
            <ac:picMk id="6" creationId="{BAA46B95-FF1B-0E43-AB2F-69F957F90367}"/>
          </ac:picMkLst>
        </pc:picChg>
        <pc:picChg chg="add mod">
          <ac:chgData name="Ito Koichi" userId="7c59a57e28e385d5" providerId="LiveId" clId="{7BE1A0C3-347C-9343-AD50-5497B70087AB}" dt="2022-01-27T04:04:13.673" v="1748" actId="1076"/>
          <ac:picMkLst>
            <pc:docMk/>
            <pc:sldMk cId="3019570019" sldId="271"/>
            <ac:picMk id="8" creationId="{A30E242E-33E1-9449-BB83-2ECEB54725DD}"/>
          </ac:picMkLst>
        </pc:picChg>
        <pc:picChg chg="del">
          <ac:chgData name="Ito Koichi" userId="7c59a57e28e385d5" providerId="LiveId" clId="{7BE1A0C3-347C-9343-AD50-5497B70087AB}" dt="2022-01-27T04:03:20.464" v="1727" actId="478"/>
          <ac:picMkLst>
            <pc:docMk/>
            <pc:sldMk cId="3019570019" sldId="271"/>
            <ac:picMk id="19" creationId="{61104B47-EC1A-1A41-A28A-600054A7E1ED}"/>
          </ac:picMkLst>
        </pc:picChg>
        <pc:picChg chg="del">
          <ac:chgData name="Ito Koichi" userId="7c59a57e28e385d5" providerId="LiveId" clId="{7BE1A0C3-347C-9343-AD50-5497B70087AB}" dt="2022-01-27T04:03:16.041" v="1726" actId="478"/>
          <ac:picMkLst>
            <pc:docMk/>
            <pc:sldMk cId="3019570019" sldId="271"/>
            <ac:picMk id="26" creationId="{8997088E-8B30-2F48-A216-01C3EC797688}"/>
          </ac:picMkLst>
        </pc:picChg>
        <pc:cxnChg chg="del">
          <ac:chgData name="Ito Koichi" userId="7c59a57e28e385d5" providerId="LiveId" clId="{7BE1A0C3-347C-9343-AD50-5497B70087AB}" dt="2022-01-27T04:03:11.177" v="1724" actId="478"/>
          <ac:cxnSpMkLst>
            <pc:docMk/>
            <pc:sldMk cId="3019570019" sldId="271"/>
            <ac:cxnSpMk id="14" creationId="{465315AF-7206-7D43-B4A3-C2A861239C5F}"/>
          </ac:cxnSpMkLst>
        </pc:cxnChg>
      </pc:sldChg>
      <pc:sldChg chg="add del">
        <pc:chgData name="Ito Koichi" userId="7c59a57e28e385d5" providerId="LiveId" clId="{7BE1A0C3-347C-9343-AD50-5497B70087AB}" dt="2022-01-27T03:56:44.270" v="1693"/>
        <pc:sldMkLst>
          <pc:docMk/>
          <pc:sldMk cId="44497761" sldId="272"/>
        </pc:sldMkLst>
      </pc:sldChg>
      <pc:sldChg chg="addSp delSp modSp add mod">
        <pc:chgData name="Ito Koichi" userId="7c59a57e28e385d5" providerId="LiveId" clId="{7BE1A0C3-347C-9343-AD50-5497B70087AB}" dt="2022-02-02T01:01:42.296" v="3585"/>
        <pc:sldMkLst>
          <pc:docMk/>
          <pc:sldMk cId="217402464" sldId="272"/>
        </pc:sldMkLst>
        <pc:spChg chg="mod">
          <ac:chgData name="Ito Koichi" userId="7c59a57e28e385d5" providerId="LiveId" clId="{7BE1A0C3-347C-9343-AD50-5497B70087AB}" dt="2022-01-27T04:13:19.408" v="2006"/>
          <ac:spMkLst>
            <pc:docMk/>
            <pc:sldMk cId="217402464" sldId="272"/>
            <ac:spMk id="2" creationId="{18772FE0-9CC7-8E4F-A04D-DFD4A2C11F45}"/>
          </ac:spMkLst>
        </pc:spChg>
        <pc:spChg chg="mod">
          <ac:chgData name="Ito Koichi" userId="7c59a57e28e385d5" providerId="LiveId" clId="{7BE1A0C3-347C-9343-AD50-5497B70087AB}" dt="2022-02-02T01:01:42.296" v="3585"/>
          <ac:spMkLst>
            <pc:docMk/>
            <pc:sldMk cId="217402464" sldId="272"/>
            <ac:spMk id="4" creationId="{2A5F6972-5246-AF49-B228-DA9DB031686D}"/>
          </ac:spMkLst>
        </pc:spChg>
        <pc:spChg chg="mod">
          <ac:chgData name="Ito Koichi" userId="7c59a57e28e385d5" providerId="LiveId" clId="{7BE1A0C3-347C-9343-AD50-5497B70087AB}" dt="2022-01-27T06:05:27.548" v="2696" actId="1076"/>
          <ac:spMkLst>
            <pc:docMk/>
            <pc:sldMk cId="217402464" sldId="272"/>
            <ac:spMk id="10" creationId="{DDD61ABB-EBDC-FA49-AD27-5698C4A92B75}"/>
          </ac:spMkLst>
        </pc:spChg>
        <pc:spChg chg="del mod">
          <ac:chgData name="Ito Koichi" userId="7c59a57e28e385d5" providerId="LiveId" clId="{7BE1A0C3-347C-9343-AD50-5497B70087AB}" dt="2022-01-27T04:38:54.408" v="2601" actId="478"/>
          <ac:spMkLst>
            <pc:docMk/>
            <pc:sldMk cId="217402464" sldId="272"/>
            <ac:spMk id="12" creationId="{8C33D614-2387-A049-A2EF-207636334C91}"/>
          </ac:spMkLst>
        </pc:spChg>
        <pc:spChg chg="add del mod">
          <ac:chgData name="Ito Koichi" userId="7c59a57e28e385d5" providerId="LiveId" clId="{7BE1A0C3-347C-9343-AD50-5497B70087AB}" dt="2022-01-27T04:36:15.281" v="2440"/>
          <ac:spMkLst>
            <pc:docMk/>
            <pc:sldMk cId="217402464" sldId="272"/>
            <ac:spMk id="31" creationId="{0D738626-E446-C04F-A2D3-52856CCB30FB}"/>
          </ac:spMkLst>
        </pc:spChg>
        <pc:spChg chg="add mod">
          <ac:chgData name="Ito Koichi" userId="7c59a57e28e385d5" providerId="LiveId" clId="{7BE1A0C3-347C-9343-AD50-5497B70087AB}" dt="2022-02-02T01:01:40.541" v="3584" actId="20577"/>
          <ac:spMkLst>
            <pc:docMk/>
            <pc:sldMk cId="217402464" sldId="272"/>
            <ac:spMk id="32" creationId="{D9C141CA-9F8C-AE41-B7B8-58A80B492D23}"/>
          </ac:spMkLst>
        </pc:spChg>
        <pc:spChg chg="add mod">
          <ac:chgData name="Ito Koichi" userId="7c59a57e28e385d5" providerId="LiveId" clId="{7BE1A0C3-347C-9343-AD50-5497B70087AB}" dt="2022-02-02T01:01:36.150" v="3578" actId="20577"/>
          <ac:spMkLst>
            <pc:docMk/>
            <pc:sldMk cId="217402464" sldId="272"/>
            <ac:spMk id="33" creationId="{9B9C703E-6C08-5C49-A9FE-08FADE52217B}"/>
          </ac:spMkLst>
        </pc:spChg>
        <pc:picChg chg="del">
          <ac:chgData name="Ito Koichi" userId="7c59a57e28e385d5" providerId="LiveId" clId="{7BE1A0C3-347C-9343-AD50-5497B70087AB}" dt="2022-01-27T04:13:57.147" v="2014" actId="478"/>
          <ac:picMkLst>
            <pc:docMk/>
            <pc:sldMk cId="217402464" sldId="272"/>
            <ac:picMk id="6" creationId="{BAA46B95-FF1B-0E43-AB2F-69F957F90367}"/>
          </ac:picMkLst>
        </pc:picChg>
        <pc:picChg chg="add del mod">
          <ac:chgData name="Ito Koichi" userId="7c59a57e28e385d5" providerId="LiveId" clId="{7BE1A0C3-347C-9343-AD50-5497B70087AB}" dt="2022-01-27T04:20:07.538" v="2055" actId="478"/>
          <ac:picMkLst>
            <pc:docMk/>
            <pc:sldMk cId="217402464" sldId="272"/>
            <ac:picMk id="7" creationId="{9E56F6D6-84D5-DC40-B507-D1336EF1F5FE}"/>
          </ac:picMkLst>
        </pc:picChg>
        <pc:picChg chg="del">
          <ac:chgData name="Ito Koichi" userId="7c59a57e28e385d5" providerId="LiveId" clId="{7BE1A0C3-347C-9343-AD50-5497B70087AB}" dt="2022-01-27T04:13:37.948" v="2007" actId="478"/>
          <ac:picMkLst>
            <pc:docMk/>
            <pc:sldMk cId="217402464" sldId="272"/>
            <ac:picMk id="8" creationId="{A30E242E-33E1-9449-BB83-2ECEB54725DD}"/>
          </ac:picMkLst>
        </pc:picChg>
        <pc:picChg chg="add del mod">
          <ac:chgData name="Ito Koichi" userId="7c59a57e28e385d5" providerId="LiveId" clId="{7BE1A0C3-347C-9343-AD50-5497B70087AB}" dt="2022-01-27T04:20:07.538" v="2055" actId="478"/>
          <ac:picMkLst>
            <pc:docMk/>
            <pc:sldMk cId="217402464" sldId="272"/>
            <ac:picMk id="11" creationId="{59D51E01-80F3-D148-B64F-98D1FC7F8F58}"/>
          </ac:picMkLst>
        </pc:picChg>
        <pc:picChg chg="add del mod">
          <ac:chgData name="Ito Koichi" userId="7c59a57e28e385d5" providerId="LiveId" clId="{7BE1A0C3-347C-9343-AD50-5497B70087AB}" dt="2022-01-27T04:20:07.538" v="2055" actId="478"/>
          <ac:picMkLst>
            <pc:docMk/>
            <pc:sldMk cId="217402464" sldId="272"/>
            <ac:picMk id="14" creationId="{AB64489A-D25F-334D-A88F-639AE09B09B4}"/>
          </ac:picMkLst>
        </pc:picChg>
        <pc:picChg chg="add del mod">
          <ac:chgData name="Ito Koichi" userId="7c59a57e28e385d5" providerId="LiveId" clId="{7BE1A0C3-347C-9343-AD50-5497B70087AB}" dt="2022-01-27T04:22:31.166" v="2136" actId="478"/>
          <ac:picMkLst>
            <pc:docMk/>
            <pc:sldMk cId="217402464" sldId="272"/>
            <ac:picMk id="16" creationId="{1BCBED68-7B68-C14C-AB87-1393BE7A6370}"/>
          </ac:picMkLst>
        </pc:picChg>
        <pc:picChg chg="add del mod">
          <ac:chgData name="Ito Koichi" userId="7c59a57e28e385d5" providerId="LiveId" clId="{7BE1A0C3-347C-9343-AD50-5497B70087AB}" dt="2022-01-27T04:22:32.320" v="2137" actId="478"/>
          <ac:picMkLst>
            <pc:docMk/>
            <pc:sldMk cId="217402464" sldId="272"/>
            <ac:picMk id="18" creationId="{8A507D3D-6159-984C-8A60-F9D7CDF5B0BD}"/>
          </ac:picMkLst>
        </pc:picChg>
        <pc:picChg chg="add mod">
          <ac:chgData name="Ito Koichi" userId="7c59a57e28e385d5" providerId="LiveId" clId="{7BE1A0C3-347C-9343-AD50-5497B70087AB}" dt="2022-01-27T06:05:27.548" v="2696" actId="1076"/>
          <ac:picMkLst>
            <pc:docMk/>
            <pc:sldMk cId="217402464" sldId="272"/>
            <ac:picMk id="20" creationId="{5A7ACD5C-89B5-8F47-AA9E-4FA81EAC2C58}"/>
          </ac:picMkLst>
        </pc:picChg>
        <pc:picChg chg="add mod">
          <ac:chgData name="Ito Koichi" userId="7c59a57e28e385d5" providerId="LiveId" clId="{7BE1A0C3-347C-9343-AD50-5497B70087AB}" dt="2022-01-27T04:35:15.256" v="2358" actId="1076"/>
          <ac:picMkLst>
            <pc:docMk/>
            <pc:sldMk cId="217402464" sldId="272"/>
            <ac:picMk id="22" creationId="{3FE30F58-F6F6-CC46-B134-BC0D5128D1C3}"/>
          </ac:picMkLst>
        </pc:picChg>
        <pc:picChg chg="add del mod">
          <ac:chgData name="Ito Koichi" userId="7c59a57e28e385d5" providerId="LiveId" clId="{7BE1A0C3-347C-9343-AD50-5497B70087AB}" dt="2022-01-27T04:24:26.888" v="2151" actId="478"/>
          <ac:picMkLst>
            <pc:docMk/>
            <pc:sldMk cId="217402464" sldId="272"/>
            <ac:picMk id="24" creationId="{465C35E6-2508-6148-92C6-D8A2AA33C46A}"/>
          </ac:picMkLst>
        </pc:picChg>
        <pc:picChg chg="add mod">
          <ac:chgData name="Ito Koichi" userId="7c59a57e28e385d5" providerId="LiveId" clId="{7BE1A0C3-347C-9343-AD50-5497B70087AB}" dt="2022-01-27T06:05:39.129" v="2698" actId="1076"/>
          <ac:picMkLst>
            <pc:docMk/>
            <pc:sldMk cId="217402464" sldId="272"/>
            <ac:picMk id="26" creationId="{E50F0E56-9DA8-0644-BC86-B21A877B1242}"/>
          </ac:picMkLst>
        </pc:picChg>
        <pc:cxnChg chg="add mod">
          <ac:chgData name="Ito Koichi" userId="7c59a57e28e385d5" providerId="LiveId" clId="{7BE1A0C3-347C-9343-AD50-5497B70087AB}" dt="2022-01-27T06:05:31.664" v="2697" actId="1076"/>
          <ac:cxnSpMkLst>
            <pc:docMk/>
            <pc:sldMk cId="217402464" sldId="272"/>
            <ac:cxnSpMk id="27" creationId="{3F56727B-45E8-4E49-B025-495D6EF252EC}"/>
          </ac:cxnSpMkLst>
        </pc:cxnChg>
        <pc:cxnChg chg="add mod">
          <ac:chgData name="Ito Koichi" userId="7c59a57e28e385d5" providerId="LiveId" clId="{7BE1A0C3-347C-9343-AD50-5497B70087AB}" dt="2022-01-27T04:31:20.532" v="2239" actId="1076"/>
          <ac:cxnSpMkLst>
            <pc:docMk/>
            <pc:sldMk cId="217402464" sldId="272"/>
            <ac:cxnSpMk id="30" creationId="{C4EF8F55-A8CE-9E43-B6B8-09906B5C3061}"/>
          </ac:cxnSpMkLst>
        </pc:cxnChg>
      </pc:sldChg>
      <pc:sldChg chg="addSp delSp modSp add del mod">
        <pc:chgData name="Ito Koichi" userId="7c59a57e28e385d5" providerId="LiveId" clId="{7BE1A0C3-347C-9343-AD50-5497B70087AB}" dt="2022-01-27T06:12:18.829" v="2737" actId="2696"/>
        <pc:sldMkLst>
          <pc:docMk/>
          <pc:sldMk cId="4212649762" sldId="273"/>
        </pc:sldMkLst>
        <pc:spChg chg="mod">
          <ac:chgData name="Ito Koichi" userId="7c59a57e28e385d5" providerId="LiveId" clId="{7BE1A0C3-347C-9343-AD50-5497B70087AB}" dt="2022-01-27T06:01:08.272" v="2672" actId="20577"/>
          <ac:spMkLst>
            <pc:docMk/>
            <pc:sldMk cId="4212649762" sldId="273"/>
            <ac:spMk id="10" creationId="{DDD61ABB-EBDC-FA49-AD27-5698C4A92B75}"/>
          </ac:spMkLst>
        </pc:spChg>
        <pc:spChg chg="mod">
          <ac:chgData name="Ito Koichi" userId="7c59a57e28e385d5" providerId="LiveId" clId="{7BE1A0C3-347C-9343-AD50-5497B70087AB}" dt="2022-01-27T06:00:25.841" v="2633" actId="20577"/>
          <ac:spMkLst>
            <pc:docMk/>
            <pc:sldMk cId="4212649762" sldId="273"/>
            <ac:spMk id="32" creationId="{D9C141CA-9F8C-AE41-B7B8-58A80B492D23}"/>
          </ac:spMkLst>
        </pc:spChg>
        <pc:spChg chg="mod">
          <ac:chgData name="Ito Koichi" userId="7c59a57e28e385d5" providerId="LiveId" clId="{7BE1A0C3-347C-9343-AD50-5497B70087AB}" dt="2022-01-27T06:00:27.638" v="2635" actId="20577"/>
          <ac:spMkLst>
            <pc:docMk/>
            <pc:sldMk cId="4212649762" sldId="273"/>
            <ac:spMk id="33" creationId="{9B9C703E-6C08-5C49-A9FE-08FADE52217B}"/>
          </ac:spMkLst>
        </pc:spChg>
        <pc:picChg chg="add del mod">
          <ac:chgData name="Ito Koichi" userId="7c59a57e28e385d5" providerId="LiveId" clId="{7BE1A0C3-347C-9343-AD50-5497B70087AB}" dt="2022-01-27T06:04:44.915" v="2694" actId="478"/>
          <ac:picMkLst>
            <pc:docMk/>
            <pc:sldMk cId="4212649762" sldId="273"/>
            <ac:picMk id="6" creationId="{FB58670E-EE55-5849-A46C-1B38A4ED8F3E}"/>
          </ac:picMkLst>
        </pc:picChg>
        <pc:picChg chg="add del mod">
          <ac:chgData name="Ito Koichi" userId="7c59a57e28e385d5" providerId="LiveId" clId="{7BE1A0C3-347C-9343-AD50-5497B70087AB}" dt="2022-01-27T06:04:44.018" v="2693" actId="478"/>
          <ac:picMkLst>
            <pc:docMk/>
            <pc:sldMk cId="4212649762" sldId="273"/>
            <ac:picMk id="8" creationId="{A2DDC238-D1F2-3C43-AF95-4C991377FB88}"/>
          </ac:picMkLst>
        </pc:picChg>
        <pc:picChg chg="add del mod">
          <ac:chgData name="Ito Koichi" userId="7c59a57e28e385d5" providerId="LiveId" clId="{7BE1A0C3-347C-9343-AD50-5497B70087AB}" dt="2022-01-27T06:04:46.055" v="2695" actId="478"/>
          <ac:picMkLst>
            <pc:docMk/>
            <pc:sldMk cId="4212649762" sldId="273"/>
            <ac:picMk id="11" creationId="{AA9F3BF3-0017-7547-8283-0DF96D1AD677}"/>
          </ac:picMkLst>
        </pc:picChg>
        <pc:picChg chg="del">
          <ac:chgData name="Ito Koichi" userId="7c59a57e28e385d5" providerId="LiveId" clId="{7BE1A0C3-347C-9343-AD50-5497B70087AB}" dt="2022-01-27T06:01:29.644" v="2673" actId="478"/>
          <ac:picMkLst>
            <pc:docMk/>
            <pc:sldMk cId="4212649762" sldId="273"/>
            <ac:picMk id="20" creationId="{5A7ACD5C-89B5-8F47-AA9E-4FA81EAC2C58}"/>
          </ac:picMkLst>
        </pc:picChg>
        <pc:picChg chg="del">
          <ac:chgData name="Ito Koichi" userId="7c59a57e28e385d5" providerId="LiveId" clId="{7BE1A0C3-347C-9343-AD50-5497B70087AB}" dt="2022-01-27T06:02:26.053" v="2675" actId="478"/>
          <ac:picMkLst>
            <pc:docMk/>
            <pc:sldMk cId="4212649762" sldId="273"/>
            <ac:picMk id="22" creationId="{3FE30F58-F6F6-CC46-B134-BC0D5128D1C3}"/>
          </ac:picMkLst>
        </pc:picChg>
        <pc:picChg chg="del">
          <ac:chgData name="Ito Koichi" userId="7c59a57e28e385d5" providerId="LiveId" clId="{7BE1A0C3-347C-9343-AD50-5497B70087AB}" dt="2022-01-27T06:02:24.261" v="2674" actId="478"/>
          <ac:picMkLst>
            <pc:docMk/>
            <pc:sldMk cId="4212649762" sldId="273"/>
            <ac:picMk id="26" creationId="{E50F0E56-9DA8-0644-BC86-B21A877B1242}"/>
          </ac:picMkLst>
        </pc:picChg>
      </pc:sldChg>
      <pc:sldChg chg="addSp delSp modSp add mod">
        <pc:chgData name="Ito Koichi" userId="7c59a57e28e385d5" providerId="LiveId" clId="{7BE1A0C3-347C-9343-AD50-5497B70087AB}" dt="2022-02-02T01:01:52.424" v="3595"/>
        <pc:sldMkLst>
          <pc:docMk/>
          <pc:sldMk cId="576614564" sldId="274"/>
        </pc:sldMkLst>
        <pc:spChg chg="mod">
          <ac:chgData name="Ito Koichi" userId="7c59a57e28e385d5" providerId="LiveId" clId="{7BE1A0C3-347C-9343-AD50-5497B70087AB}" dt="2022-02-02T01:01:52.424" v="3595"/>
          <ac:spMkLst>
            <pc:docMk/>
            <pc:sldMk cId="576614564" sldId="274"/>
            <ac:spMk id="4" creationId="{2A5F6972-5246-AF49-B228-DA9DB031686D}"/>
          </ac:spMkLst>
        </pc:spChg>
        <pc:spChg chg="mod">
          <ac:chgData name="Ito Koichi" userId="7c59a57e28e385d5" providerId="LiveId" clId="{7BE1A0C3-347C-9343-AD50-5497B70087AB}" dt="2022-01-27T06:11:45.796" v="2734"/>
          <ac:spMkLst>
            <pc:docMk/>
            <pc:sldMk cId="576614564" sldId="274"/>
            <ac:spMk id="10" creationId="{DDD61ABB-EBDC-FA49-AD27-5698C4A92B75}"/>
          </ac:spMkLst>
        </pc:spChg>
        <pc:spChg chg="mod">
          <ac:chgData name="Ito Koichi" userId="7c59a57e28e385d5" providerId="LiveId" clId="{7BE1A0C3-347C-9343-AD50-5497B70087AB}" dt="2022-02-02T01:01:50.313" v="3594" actId="20577"/>
          <ac:spMkLst>
            <pc:docMk/>
            <pc:sldMk cId="576614564" sldId="274"/>
            <ac:spMk id="32" creationId="{D9C141CA-9F8C-AE41-B7B8-58A80B492D23}"/>
          </ac:spMkLst>
        </pc:spChg>
        <pc:spChg chg="mod">
          <ac:chgData name="Ito Koichi" userId="7c59a57e28e385d5" providerId="LiveId" clId="{7BE1A0C3-347C-9343-AD50-5497B70087AB}" dt="2022-02-02T01:01:48.061" v="3590" actId="20577"/>
          <ac:spMkLst>
            <pc:docMk/>
            <pc:sldMk cId="576614564" sldId="274"/>
            <ac:spMk id="33" creationId="{9B9C703E-6C08-5C49-A9FE-08FADE52217B}"/>
          </ac:spMkLst>
        </pc:spChg>
        <pc:grpChg chg="add mod">
          <ac:chgData name="Ito Koichi" userId="7c59a57e28e385d5" providerId="LiveId" clId="{7BE1A0C3-347C-9343-AD50-5497B70087AB}" dt="2022-01-27T06:52:22.784" v="2792" actId="1076"/>
          <ac:grpSpMkLst>
            <pc:docMk/>
            <pc:sldMk cId="576614564" sldId="274"/>
            <ac:grpSpMk id="21" creationId="{F9F6E007-DF69-C449-A500-68A239418B6F}"/>
          </ac:grpSpMkLst>
        </pc:grpChg>
        <pc:picChg chg="add mod">
          <ac:chgData name="Ito Koichi" userId="7c59a57e28e385d5" providerId="LiveId" clId="{7BE1A0C3-347C-9343-AD50-5497B70087AB}" dt="2022-01-27T06:50:20.411" v="2765" actId="14100"/>
          <ac:picMkLst>
            <pc:docMk/>
            <pc:sldMk cId="576614564" sldId="274"/>
            <ac:picMk id="6" creationId="{167D94D9-8FA5-5F48-9160-656C50473D70}"/>
          </ac:picMkLst>
        </pc:picChg>
        <pc:picChg chg="add mod">
          <ac:chgData name="Ito Koichi" userId="7c59a57e28e385d5" providerId="LiveId" clId="{7BE1A0C3-347C-9343-AD50-5497B70087AB}" dt="2022-01-27T06:50:23.470" v="2766" actId="14100"/>
          <ac:picMkLst>
            <pc:docMk/>
            <pc:sldMk cId="576614564" sldId="274"/>
            <ac:picMk id="8" creationId="{54FBFC17-DD1C-EA4F-80BE-0F9D84A4B28C}"/>
          </ac:picMkLst>
        </pc:picChg>
        <pc:picChg chg="add mod">
          <ac:chgData name="Ito Koichi" userId="7c59a57e28e385d5" providerId="LiveId" clId="{7BE1A0C3-347C-9343-AD50-5497B70087AB}" dt="2022-01-27T06:51:27.883" v="2779" actId="1076"/>
          <ac:picMkLst>
            <pc:docMk/>
            <pc:sldMk cId="576614564" sldId="274"/>
            <ac:picMk id="11" creationId="{5ED91778-86AB-0F4C-9E36-365C518082AF}"/>
          </ac:picMkLst>
        </pc:picChg>
        <pc:picChg chg="add mod modCrop">
          <ac:chgData name="Ito Koichi" userId="7c59a57e28e385d5" providerId="LiveId" clId="{7BE1A0C3-347C-9343-AD50-5497B70087AB}" dt="2022-01-27T06:51:23.919" v="2778" actId="732"/>
          <ac:picMkLst>
            <pc:docMk/>
            <pc:sldMk cId="576614564" sldId="274"/>
            <ac:picMk id="13" creationId="{F9B62AE4-8071-6B48-816D-A2BF10DD541F}"/>
          </ac:picMkLst>
        </pc:picChg>
        <pc:picChg chg="add mod">
          <ac:chgData name="Ito Koichi" userId="7c59a57e28e385d5" providerId="LiveId" clId="{7BE1A0C3-347C-9343-AD50-5497B70087AB}" dt="2022-01-27T06:51:44.868" v="2782" actId="1076"/>
          <ac:picMkLst>
            <pc:docMk/>
            <pc:sldMk cId="576614564" sldId="274"/>
            <ac:picMk id="15" creationId="{59C32BD1-317D-D446-9793-F6F7CD95AECA}"/>
          </ac:picMkLst>
        </pc:picChg>
        <pc:picChg chg="add mod">
          <ac:chgData name="Ito Koichi" userId="7c59a57e28e385d5" providerId="LiveId" clId="{7BE1A0C3-347C-9343-AD50-5497B70087AB}" dt="2022-01-27T06:52:06.273" v="2787" actId="164"/>
          <ac:picMkLst>
            <pc:docMk/>
            <pc:sldMk cId="576614564" sldId="274"/>
            <ac:picMk id="17" creationId="{2F3C2EB8-B174-0545-9934-028E0E974F2E}"/>
          </ac:picMkLst>
        </pc:picChg>
        <pc:picChg chg="add mod">
          <ac:chgData name="Ito Koichi" userId="7c59a57e28e385d5" providerId="LiveId" clId="{7BE1A0C3-347C-9343-AD50-5497B70087AB}" dt="2022-01-27T06:52:06.273" v="2787" actId="164"/>
          <ac:picMkLst>
            <pc:docMk/>
            <pc:sldMk cId="576614564" sldId="274"/>
            <ac:picMk id="19" creationId="{2A98A9C5-D14A-8443-BFB4-97F390D5C391}"/>
          </ac:picMkLst>
        </pc:picChg>
        <pc:picChg chg="del">
          <ac:chgData name="Ito Koichi" userId="7c59a57e28e385d5" providerId="LiveId" clId="{7BE1A0C3-347C-9343-AD50-5497B70087AB}" dt="2022-01-27T06:09:33.050" v="2711" actId="478"/>
          <ac:picMkLst>
            <pc:docMk/>
            <pc:sldMk cId="576614564" sldId="274"/>
            <ac:picMk id="20" creationId="{5A7ACD5C-89B5-8F47-AA9E-4FA81EAC2C58}"/>
          </ac:picMkLst>
        </pc:picChg>
        <pc:picChg chg="del">
          <ac:chgData name="Ito Koichi" userId="7c59a57e28e385d5" providerId="LiveId" clId="{7BE1A0C3-347C-9343-AD50-5497B70087AB}" dt="2022-01-27T06:09:34.850" v="2713" actId="478"/>
          <ac:picMkLst>
            <pc:docMk/>
            <pc:sldMk cId="576614564" sldId="274"/>
            <ac:picMk id="22" creationId="{3FE30F58-F6F6-CC46-B134-BC0D5128D1C3}"/>
          </ac:picMkLst>
        </pc:picChg>
        <pc:picChg chg="del">
          <ac:chgData name="Ito Koichi" userId="7c59a57e28e385d5" providerId="LiveId" clId="{7BE1A0C3-347C-9343-AD50-5497B70087AB}" dt="2022-01-27T06:09:34.019" v="2712" actId="478"/>
          <ac:picMkLst>
            <pc:docMk/>
            <pc:sldMk cId="576614564" sldId="274"/>
            <ac:picMk id="26" creationId="{E50F0E56-9DA8-0644-BC86-B21A877B1242}"/>
          </ac:picMkLst>
        </pc:picChg>
      </pc:sldChg>
      <pc:sldChg chg="addSp delSp modSp add mod">
        <pc:chgData name="Ito Koichi" userId="7c59a57e28e385d5" providerId="LiveId" clId="{7BE1A0C3-347C-9343-AD50-5497B70087AB}" dt="2022-02-02T01:01:59.820" v="3605"/>
        <pc:sldMkLst>
          <pc:docMk/>
          <pc:sldMk cId="559914308" sldId="275"/>
        </pc:sldMkLst>
        <pc:spChg chg="mod">
          <ac:chgData name="Ito Koichi" userId="7c59a57e28e385d5" providerId="LiveId" clId="{7BE1A0C3-347C-9343-AD50-5497B70087AB}" dt="2022-02-02T01:01:59.820" v="3605"/>
          <ac:spMkLst>
            <pc:docMk/>
            <pc:sldMk cId="559914308" sldId="275"/>
            <ac:spMk id="4" creationId="{2A5F6972-5246-AF49-B228-DA9DB031686D}"/>
          </ac:spMkLst>
        </pc:spChg>
        <pc:spChg chg="mod">
          <ac:chgData name="Ito Koichi" userId="7c59a57e28e385d5" providerId="LiveId" clId="{7BE1A0C3-347C-9343-AD50-5497B70087AB}" dt="2022-01-27T07:10:56.145" v="2911" actId="20577"/>
          <ac:spMkLst>
            <pc:docMk/>
            <pc:sldMk cId="559914308" sldId="275"/>
            <ac:spMk id="10" creationId="{DDD61ABB-EBDC-FA49-AD27-5698C4A92B75}"/>
          </ac:spMkLst>
        </pc:spChg>
        <pc:spChg chg="mod">
          <ac:chgData name="Ito Koichi" userId="7c59a57e28e385d5" providerId="LiveId" clId="{7BE1A0C3-347C-9343-AD50-5497B70087AB}" dt="2022-02-02T01:01:57.869" v="3604" actId="20577"/>
          <ac:spMkLst>
            <pc:docMk/>
            <pc:sldMk cId="559914308" sldId="275"/>
            <ac:spMk id="32" creationId="{D9C141CA-9F8C-AE41-B7B8-58A80B492D23}"/>
          </ac:spMkLst>
        </pc:spChg>
        <pc:spChg chg="del mod">
          <ac:chgData name="Ito Koichi" userId="7c59a57e28e385d5" providerId="LiveId" clId="{7BE1A0C3-347C-9343-AD50-5497B70087AB}" dt="2022-01-27T07:07:58.836" v="2858" actId="478"/>
          <ac:spMkLst>
            <pc:docMk/>
            <pc:sldMk cId="559914308" sldId="275"/>
            <ac:spMk id="33" creationId="{9B9C703E-6C08-5C49-A9FE-08FADE52217B}"/>
          </ac:spMkLst>
        </pc:spChg>
        <pc:grpChg chg="del">
          <ac:chgData name="Ito Koichi" userId="7c59a57e28e385d5" providerId="LiveId" clId="{7BE1A0C3-347C-9343-AD50-5497B70087AB}" dt="2022-01-27T07:08:07.542" v="2860" actId="478"/>
          <ac:grpSpMkLst>
            <pc:docMk/>
            <pc:sldMk cId="559914308" sldId="275"/>
            <ac:grpSpMk id="21" creationId="{F9F6E007-DF69-C449-A500-68A239418B6F}"/>
          </ac:grpSpMkLst>
        </pc:grpChg>
        <pc:picChg chg="del">
          <ac:chgData name="Ito Koichi" userId="7c59a57e28e385d5" providerId="LiveId" clId="{7BE1A0C3-347C-9343-AD50-5497B70087AB}" dt="2022-01-27T07:08:10.687" v="2862" actId="478"/>
          <ac:picMkLst>
            <pc:docMk/>
            <pc:sldMk cId="559914308" sldId="275"/>
            <ac:picMk id="6" creationId="{167D94D9-8FA5-5F48-9160-656C50473D70}"/>
          </ac:picMkLst>
        </pc:picChg>
        <pc:picChg chg="add mod">
          <ac:chgData name="Ito Koichi" userId="7c59a57e28e385d5" providerId="LiveId" clId="{7BE1A0C3-347C-9343-AD50-5497B70087AB}" dt="2022-01-27T07:09:22.608" v="2879" actId="1076"/>
          <ac:picMkLst>
            <pc:docMk/>
            <pc:sldMk cId="559914308" sldId="275"/>
            <ac:picMk id="7" creationId="{A61B7E26-3D97-FB4C-9737-234BBACCBBF1}"/>
          </ac:picMkLst>
        </pc:picChg>
        <pc:picChg chg="del">
          <ac:chgData name="Ito Koichi" userId="7c59a57e28e385d5" providerId="LiveId" clId="{7BE1A0C3-347C-9343-AD50-5497B70087AB}" dt="2022-01-27T07:08:10.687" v="2862" actId="478"/>
          <ac:picMkLst>
            <pc:docMk/>
            <pc:sldMk cId="559914308" sldId="275"/>
            <ac:picMk id="8" creationId="{54FBFC17-DD1C-EA4F-80BE-0F9D84A4B28C}"/>
          </ac:picMkLst>
        </pc:picChg>
        <pc:picChg chg="del">
          <ac:chgData name="Ito Koichi" userId="7c59a57e28e385d5" providerId="LiveId" clId="{7BE1A0C3-347C-9343-AD50-5497B70087AB}" dt="2022-01-27T07:08:08.753" v="2861" actId="478"/>
          <ac:picMkLst>
            <pc:docMk/>
            <pc:sldMk cId="559914308" sldId="275"/>
            <ac:picMk id="11" creationId="{5ED91778-86AB-0F4C-9E36-365C518082AF}"/>
          </ac:picMkLst>
        </pc:picChg>
        <pc:picChg chg="add mod">
          <ac:chgData name="Ito Koichi" userId="7c59a57e28e385d5" providerId="LiveId" clId="{7BE1A0C3-347C-9343-AD50-5497B70087AB}" dt="2022-01-27T07:09:31.942" v="2882" actId="1076"/>
          <ac:picMkLst>
            <pc:docMk/>
            <pc:sldMk cId="559914308" sldId="275"/>
            <ac:picMk id="12" creationId="{3528CCEB-BF16-3043-AEBA-797A4098DA18}"/>
          </ac:picMkLst>
        </pc:picChg>
        <pc:picChg chg="del">
          <ac:chgData name="Ito Koichi" userId="7c59a57e28e385d5" providerId="LiveId" clId="{7BE1A0C3-347C-9343-AD50-5497B70087AB}" dt="2022-01-27T07:08:08.753" v="2861" actId="478"/>
          <ac:picMkLst>
            <pc:docMk/>
            <pc:sldMk cId="559914308" sldId="275"/>
            <ac:picMk id="13" creationId="{F9B62AE4-8071-6B48-816D-A2BF10DD541F}"/>
          </ac:picMkLst>
        </pc:picChg>
        <pc:picChg chg="del">
          <ac:chgData name="Ito Koichi" userId="7c59a57e28e385d5" providerId="LiveId" clId="{7BE1A0C3-347C-9343-AD50-5497B70087AB}" dt="2022-01-27T07:08:07.542" v="2860" actId="478"/>
          <ac:picMkLst>
            <pc:docMk/>
            <pc:sldMk cId="559914308" sldId="275"/>
            <ac:picMk id="15" creationId="{59C32BD1-317D-D446-9793-F6F7CD95AECA}"/>
          </ac:picMkLst>
        </pc:picChg>
        <pc:picChg chg="add mod modCrop">
          <ac:chgData name="Ito Koichi" userId="7c59a57e28e385d5" providerId="LiveId" clId="{7BE1A0C3-347C-9343-AD50-5497B70087AB}" dt="2022-01-27T07:09:22.608" v="2879" actId="1076"/>
          <ac:picMkLst>
            <pc:docMk/>
            <pc:sldMk cId="559914308" sldId="275"/>
            <ac:picMk id="16" creationId="{50800E6A-B91F-2848-B4BC-C1D253D2736B}"/>
          </ac:picMkLst>
        </pc:picChg>
        <pc:picChg chg="add del mod">
          <ac:chgData name="Ito Koichi" userId="7c59a57e28e385d5" providerId="LiveId" clId="{7BE1A0C3-347C-9343-AD50-5497B70087AB}" dt="2022-01-27T07:10:02.817" v="2888" actId="478"/>
          <ac:picMkLst>
            <pc:docMk/>
            <pc:sldMk cId="559914308" sldId="275"/>
            <ac:picMk id="20" creationId="{18E4A4B6-4770-8A4D-8F96-AC089E7A489A}"/>
          </ac:picMkLst>
        </pc:picChg>
        <pc:cxnChg chg="mod">
          <ac:chgData name="Ito Koichi" userId="7c59a57e28e385d5" providerId="LiveId" clId="{7BE1A0C3-347C-9343-AD50-5497B70087AB}" dt="2022-01-27T07:48:12.534" v="3050" actId="1076"/>
          <ac:cxnSpMkLst>
            <pc:docMk/>
            <pc:sldMk cId="559914308" sldId="275"/>
            <ac:cxnSpMk id="27" creationId="{3F56727B-45E8-4E49-B025-495D6EF252EC}"/>
          </ac:cxnSpMkLst>
        </pc:cxnChg>
        <pc:cxnChg chg="del">
          <ac:chgData name="Ito Koichi" userId="7c59a57e28e385d5" providerId="LiveId" clId="{7BE1A0C3-347C-9343-AD50-5497B70087AB}" dt="2022-01-27T07:08:05.531" v="2859" actId="478"/>
          <ac:cxnSpMkLst>
            <pc:docMk/>
            <pc:sldMk cId="559914308" sldId="275"/>
            <ac:cxnSpMk id="30" creationId="{C4EF8F55-A8CE-9E43-B6B8-09906B5C3061}"/>
          </ac:cxnSpMkLst>
        </pc:cxnChg>
      </pc:sldChg>
      <pc:sldChg chg="addSp delSp modSp add mod">
        <pc:chgData name="Ito Koichi" userId="7c59a57e28e385d5" providerId="LiveId" clId="{7BE1A0C3-347C-9343-AD50-5497B70087AB}" dt="2022-02-02T01:02:28.152" v="3612"/>
        <pc:sldMkLst>
          <pc:docMk/>
          <pc:sldMk cId="2281439180" sldId="276"/>
        </pc:sldMkLst>
        <pc:spChg chg="mod">
          <ac:chgData name="Ito Koichi" userId="7c59a57e28e385d5" providerId="LiveId" clId="{7BE1A0C3-347C-9343-AD50-5497B70087AB}" dt="2022-01-27T07:15:55.753" v="2993" actId="20577"/>
          <ac:spMkLst>
            <pc:docMk/>
            <pc:sldMk cId="2281439180" sldId="276"/>
            <ac:spMk id="2" creationId="{18772FE0-9CC7-8E4F-A04D-DFD4A2C11F45}"/>
          </ac:spMkLst>
        </pc:spChg>
        <pc:spChg chg="mod">
          <ac:chgData name="Ito Koichi" userId="7c59a57e28e385d5" providerId="LiveId" clId="{7BE1A0C3-347C-9343-AD50-5497B70087AB}" dt="2022-02-02T01:02:28.152" v="3612"/>
          <ac:spMkLst>
            <pc:docMk/>
            <pc:sldMk cId="2281439180" sldId="276"/>
            <ac:spMk id="4" creationId="{2A5F6972-5246-AF49-B228-DA9DB031686D}"/>
          </ac:spMkLst>
        </pc:spChg>
        <pc:spChg chg="mod">
          <ac:chgData name="Ito Koichi" userId="7c59a57e28e385d5" providerId="LiveId" clId="{7BE1A0C3-347C-9343-AD50-5497B70087AB}" dt="2022-01-27T07:52:18.650" v="3081" actId="20577"/>
          <ac:spMkLst>
            <pc:docMk/>
            <pc:sldMk cId="2281439180" sldId="276"/>
            <ac:spMk id="10" creationId="{DDD61ABB-EBDC-FA49-AD27-5698C4A92B75}"/>
          </ac:spMkLst>
        </pc:spChg>
        <pc:spChg chg="mod">
          <ac:chgData name="Ito Koichi" userId="7c59a57e28e385d5" providerId="LiveId" clId="{7BE1A0C3-347C-9343-AD50-5497B70087AB}" dt="2022-02-02T01:02:03.271" v="3611" actId="20577"/>
          <ac:spMkLst>
            <pc:docMk/>
            <pc:sldMk cId="2281439180" sldId="276"/>
            <ac:spMk id="32" creationId="{D9C141CA-9F8C-AE41-B7B8-58A80B492D23}"/>
          </ac:spMkLst>
        </pc:spChg>
        <pc:spChg chg="del mod">
          <ac:chgData name="Ito Koichi" userId="7c59a57e28e385d5" providerId="LiveId" clId="{7BE1A0C3-347C-9343-AD50-5497B70087AB}" dt="2022-01-27T07:46:55.891" v="3046" actId="478"/>
          <ac:spMkLst>
            <pc:docMk/>
            <pc:sldMk cId="2281439180" sldId="276"/>
            <ac:spMk id="33" creationId="{9B9C703E-6C08-5C49-A9FE-08FADE52217B}"/>
          </ac:spMkLst>
        </pc:spChg>
        <pc:grpChg chg="del">
          <ac:chgData name="Ito Koichi" userId="7c59a57e28e385d5" providerId="LiveId" clId="{7BE1A0C3-347C-9343-AD50-5497B70087AB}" dt="2022-01-27T07:21:11.434" v="3002" actId="478"/>
          <ac:grpSpMkLst>
            <pc:docMk/>
            <pc:sldMk cId="2281439180" sldId="276"/>
            <ac:grpSpMk id="21" creationId="{F9F6E007-DF69-C449-A500-68A239418B6F}"/>
          </ac:grpSpMkLst>
        </pc:grpChg>
        <pc:picChg chg="del">
          <ac:chgData name="Ito Koichi" userId="7c59a57e28e385d5" providerId="LiveId" clId="{7BE1A0C3-347C-9343-AD50-5497B70087AB}" dt="2022-01-27T07:21:11.434" v="3002" actId="478"/>
          <ac:picMkLst>
            <pc:docMk/>
            <pc:sldMk cId="2281439180" sldId="276"/>
            <ac:picMk id="6" creationId="{167D94D9-8FA5-5F48-9160-656C50473D70}"/>
          </ac:picMkLst>
        </pc:picChg>
        <pc:picChg chg="add del mod">
          <ac:chgData name="Ito Koichi" userId="7c59a57e28e385d5" providerId="LiveId" clId="{7BE1A0C3-347C-9343-AD50-5497B70087AB}" dt="2022-01-27T07:46:36.944" v="3043" actId="931"/>
          <ac:picMkLst>
            <pc:docMk/>
            <pc:sldMk cId="2281439180" sldId="276"/>
            <ac:picMk id="7" creationId="{FE2C0069-DA91-3F48-BE4A-ACF6EBB9AEDD}"/>
          </ac:picMkLst>
        </pc:picChg>
        <pc:picChg chg="del">
          <ac:chgData name="Ito Koichi" userId="7c59a57e28e385d5" providerId="LiveId" clId="{7BE1A0C3-347C-9343-AD50-5497B70087AB}" dt="2022-01-27T07:21:11.434" v="3002" actId="478"/>
          <ac:picMkLst>
            <pc:docMk/>
            <pc:sldMk cId="2281439180" sldId="276"/>
            <ac:picMk id="8" creationId="{54FBFC17-DD1C-EA4F-80BE-0F9D84A4B28C}"/>
          </ac:picMkLst>
        </pc:picChg>
        <pc:picChg chg="del">
          <ac:chgData name="Ito Koichi" userId="7c59a57e28e385d5" providerId="LiveId" clId="{7BE1A0C3-347C-9343-AD50-5497B70087AB}" dt="2022-01-27T07:21:11.434" v="3002" actId="478"/>
          <ac:picMkLst>
            <pc:docMk/>
            <pc:sldMk cId="2281439180" sldId="276"/>
            <ac:picMk id="11" creationId="{5ED91778-86AB-0F4C-9E36-365C518082AF}"/>
          </ac:picMkLst>
        </pc:picChg>
        <pc:picChg chg="add del mod">
          <ac:chgData name="Ito Koichi" userId="7c59a57e28e385d5" providerId="LiveId" clId="{7BE1A0C3-347C-9343-AD50-5497B70087AB}" dt="2022-01-27T07:46:36.944" v="3043" actId="931"/>
          <ac:picMkLst>
            <pc:docMk/>
            <pc:sldMk cId="2281439180" sldId="276"/>
            <ac:picMk id="12" creationId="{48B595BD-E259-2143-8141-41EBA4EBE72B}"/>
          </ac:picMkLst>
        </pc:picChg>
        <pc:picChg chg="del">
          <ac:chgData name="Ito Koichi" userId="7c59a57e28e385d5" providerId="LiveId" clId="{7BE1A0C3-347C-9343-AD50-5497B70087AB}" dt="2022-01-27T07:21:11.434" v="3002" actId="478"/>
          <ac:picMkLst>
            <pc:docMk/>
            <pc:sldMk cId="2281439180" sldId="276"/>
            <ac:picMk id="13" creationId="{F9B62AE4-8071-6B48-816D-A2BF10DD541F}"/>
          </ac:picMkLst>
        </pc:picChg>
        <pc:picChg chg="del">
          <ac:chgData name="Ito Koichi" userId="7c59a57e28e385d5" providerId="LiveId" clId="{7BE1A0C3-347C-9343-AD50-5497B70087AB}" dt="2022-01-27T07:21:11.434" v="3002" actId="478"/>
          <ac:picMkLst>
            <pc:docMk/>
            <pc:sldMk cId="2281439180" sldId="276"/>
            <ac:picMk id="15" creationId="{59C32BD1-317D-D446-9793-F6F7CD95AECA}"/>
          </ac:picMkLst>
        </pc:picChg>
        <pc:picChg chg="add del mod">
          <ac:chgData name="Ito Koichi" userId="7c59a57e28e385d5" providerId="LiveId" clId="{7BE1A0C3-347C-9343-AD50-5497B70087AB}" dt="2022-01-27T07:46:36.944" v="3043" actId="931"/>
          <ac:picMkLst>
            <pc:docMk/>
            <pc:sldMk cId="2281439180" sldId="276"/>
            <ac:picMk id="16" creationId="{A8ECA72E-F673-284E-B76B-EACE651265E4}"/>
          </ac:picMkLst>
        </pc:picChg>
        <pc:picChg chg="add del mod">
          <ac:chgData name="Ito Koichi" userId="7c59a57e28e385d5" providerId="LiveId" clId="{7BE1A0C3-347C-9343-AD50-5497B70087AB}" dt="2022-01-27T07:46:36.944" v="3043" actId="931"/>
          <ac:picMkLst>
            <pc:docMk/>
            <pc:sldMk cId="2281439180" sldId="276"/>
            <ac:picMk id="20" creationId="{E0C0245B-75C1-5249-83A5-02F19625EBDB}"/>
          </ac:picMkLst>
        </pc:picChg>
        <pc:picChg chg="add del mod">
          <ac:chgData name="Ito Koichi" userId="7c59a57e28e385d5" providerId="LiveId" clId="{7BE1A0C3-347C-9343-AD50-5497B70087AB}" dt="2022-01-27T07:46:36.944" v="3043" actId="931"/>
          <ac:picMkLst>
            <pc:docMk/>
            <pc:sldMk cId="2281439180" sldId="276"/>
            <ac:picMk id="23" creationId="{6BACCC89-7A32-424D-AA47-B698A873C6EB}"/>
          </ac:picMkLst>
        </pc:picChg>
        <pc:picChg chg="add del mod">
          <ac:chgData name="Ito Koichi" userId="7c59a57e28e385d5" providerId="LiveId" clId="{7BE1A0C3-347C-9343-AD50-5497B70087AB}" dt="2022-01-27T07:46:36.944" v="3043" actId="931"/>
          <ac:picMkLst>
            <pc:docMk/>
            <pc:sldMk cId="2281439180" sldId="276"/>
            <ac:picMk id="25" creationId="{1A7DBC85-49E3-FF41-9DE3-BB2D6D013E05}"/>
          </ac:picMkLst>
        </pc:picChg>
        <pc:picChg chg="add mod">
          <ac:chgData name="Ito Koichi" userId="7c59a57e28e385d5" providerId="LiveId" clId="{7BE1A0C3-347C-9343-AD50-5497B70087AB}" dt="2022-01-27T07:50:35.033" v="3069" actId="1076"/>
          <ac:picMkLst>
            <pc:docMk/>
            <pc:sldMk cId="2281439180" sldId="276"/>
            <ac:picMk id="28" creationId="{0797894D-6BE1-6E4A-9620-8E87A4DDAF8B}"/>
          </ac:picMkLst>
        </pc:picChg>
        <pc:picChg chg="add mod">
          <ac:chgData name="Ito Koichi" userId="7c59a57e28e385d5" providerId="LiveId" clId="{7BE1A0C3-347C-9343-AD50-5497B70087AB}" dt="2022-01-27T07:50:45.466" v="3071" actId="1076"/>
          <ac:picMkLst>
            <pc:docMk/>
            <pc:sldMk cId="2281439180" sldId="276"/>
            <ac:picMk id="31" creationId="{07AE5D6E-E869-1D4D-9F06-E1115D91B68C}"/>
          </ac:picMkLst>
        </pc:picChg>
        <pc:picChg chg="add mod modCrop">
          <ac:chgData name="Ito Koichi" userId="7c59a57e28e385d5" providerId="LiveId" clId="{7BE1A0C3-347C-9343-AD50-5497B70087AB}" dt="2022-01-27T07:50:33.232" v="3068" actId="1076"/>
          <ac:picMkLst>
            <pc:docMk/>
            <pc:sldMk cId="2281439180" sldId="276"/>
            <ac:picMk id="35" creationId="{26CAAB11-A4EE-E443-8B4D-C04A2DC05261}"/>
          </ac:picMkLst>
        </pc:picChg>
        <pc:picChg chg="add mod">
          <ac:chgData name="Ito Koichi" userId="7c59a57e28e385d5" providerId="LiveId" clId="{7BE1A0C3-347C-9343-AD50-5497B70087AB}" dt="2022-01-27T08:15:06.258" v="3151" actId="1076"/>
          <ac:picMkLst>
            <pc:docMk/>
            <pc:sldMk cId="2281439180" sldId="276"/>
            <ac:picMk id="37" creationId="{EDE5CCB4-0904-CA49-8D79-727AB7BB89AF}"/>
          </ac:picMkLst>
        </pc:picChg>
        <pc:cxnChg chg="mod">
          <ac:chgData name="Ito Koichi" userId="7c59a57e28e385d5" providerId="LiveId" clId="{7BE1A0C3-347C-9343-AD50-5497B70087AB}" dt="2022-01-27T07:48:34.085" v="3051" actId="1076"/>
          <ac:cxnSpMkLst>
            <pc:docMk/>
            <pc:sldMk cId="2281439180" sldId="276"/>
            <ac:cxnSpMk id="27" creationId="{3F56727B-45E8-4E49-B025-495D6EF252EC}"/>
          </ac:cxnSpMkLst>
        </pc:cxnChg>
        <pc:cxnChg chg="del">
          <ac:chgData name="Ito Koichi" userId="7c59a57e28e385d5" providerId="LiveId" clId="{7BE1A0C3-347C-9343-AD50-5497B70087AB}" dt="2022-01-27T07:46:52.518" v="3044" actId="478"/>
          <ac:cxnSpMkLst>
            <pc:docMk/>
            <pc:sldMk cId="2281439180" sldId="276"/>
            <ac:cxnSpMk id="30" creationId="{C4EF8F55-A8CE-9E43-B6B8-09906B5C3061}"/>
          </ac:cxnSpMkLst>
        </pc:cxnChg>
      </pc:sldChg>
      <pc:sldChg chg="addSp delSp modSp add mod">
        <pc:chgData name="Ito Koichi" userId="7c59a57e28e385d5" providerId="LiveId" clId="{7BE1A0C3-347C-9343-AD50-5497B70087AB}" dt="2022-02-02T01:02:35.254" v="3618"/>
        <pc:sldMkLst>
          <pc:docMk/>
          <pc:sldMk cId="416035135" sldId="277"/>
        </pc:sldMkLst>
        <pc:spChg chg="mod">
          <ac:chgData name="Ito Koichi" userId="7c59a57e28e385d5" providerId="LiveId" clId="{7BE1A0C3-347C-9343-AD50-5497B70087AB}" dt="2022-02-02T01:02:35.254" v="3618"/>
          <ac:spMkLst>
            <pc:docMk/>
            <pc:sldMk cId="416035135" sldId="277"/>
            <ac:spMk id="4" creationId="{2A5F6972-5246-AF49-B228-DA9DB031686D}"/>
          </ac:spMkLst>
        </pc:spChg>
        <pc:spChg chg="mod">
          <ac:chgData name="Ito Koichi" userId="7c59a57e28e385d5" providerId="LiveId" clId="{7BE1A0C3-347C-9343-AD50-5497B70087AB}" dt="2022-01-27T08:15:58.679" v="3158" actId="20577"/>
          <ac:spMkLst>
            <pc:docMk/>
            <pc:sldMk cId="416035135" sldId="277"/>
            <ac:spMk id="10" creationId="{DDD61ABB-EBDC-FA49-AD27-5698C4A92B75}"/>
          </ac:spMkLst>
        </pc:spChg>
        <pc:spChg chg="mod">
          <ac:chgData name="Ito Koichi" userId="7c59a57e28e385d5" providerId="LiveId" clId="{7BE1A0C3-347C-9343-AD50-5497B70087AB}" dt="2022-02-02T01:02:33.192" v="3617" actId="20577"/>
          <ac:spMkLst>
            <pc:docMk/>
            <pc:sldMk cId="416035135" sldId="277"/>
            <ac:spMk id="32" creationId="{D9C141CA-9F8C-AE41-B7B8-58A80B492D23}"/>
          </ac:spMkLst>
        </pc:spChg>
        <pc:picChg chg="add mod">
          <ac:chgData name="Ito Koichi" userId="7c59a57e28e385d5" providerId="LiveId" clId="{7BE1A0C3-347C-9343-AD50-5497B70087AB}" dt="2022-01-27T08:15:22.010" v="3155" actId="1076"/>
          <ac:picMkLst>
            <pc:docMk/>
            <pc:sldMk cId="416035135" sldId="277"/>
            <ac:picMk id="6" creationId="{4283E9EE-54B8-A146-9B5F-6E4D6C962F0F}"/>
          </ac:picMkLst>
        </pc:picChg>
        <pc:picChg chg="add mod">
          <ac:chgData name="Ito Koichi" userId="7c59a57e28e385d5" providerId="LiveId" clId="{7BE1A0C3-347C-9343-AD50-5497B70087AB}" dt="2022-01-27T08:14:47.944" v="3148" actId="1076"/>
          <ac:picMkLst>
            <pc:docMk/>
            <pc:sldMk cId="416035135" sldId="277"/>
            <ac:picMk id="8" creationId="{49EB1013-D5AE-AE45-82D2-AC2A913550ED}"/>
          </ac:picMkLst>
        </pc:picChg>
        <pc:picChg chg="add mod">
          <ac:chgData name="Ito Koichi" userId="7c59a57e28e385d5" providerId="LiveId" clId="{7BE1A0C3-347C-9343-AD50-5497B70087AB}" dt="2022-01-27T08:14:29.410" v="3143" actId="1076"/>
          <ac:picMkLst>
            <pc:docMk/>
            <pc:sldMk cId="416035135" sldId="277"/>
            <ac:picMk id="11" creationId="{D4DA7BE1-7A89-9740-80EC-F898B35FA380}"/>
          </ac:picMkLst>
        </pc:picChg>
        <pc:picChg chg="add mod">
          <ac:chgData name="Ito Koichi" userId="7c59a57e28e385d5" providerId="LiveId" clId="{7BE1A0C3-347C-9343-AD50-5497B70087AB}" dt="2022-01-27T08:15:25.948" v="3156" actId="1076"/>
          <ac:picMkLst>
            <pc:docMk/>
            <pc:sldMk cId="416035135" sldId="277"/>
            <ac:picMk id="13" creationId="{529A3BEE-D152-F54A-B791-B57DA95D8F3F}"/>
          </ac:picMkLst>
        </pc:picChg>
        <pc:picChg chg="del">
          <ac:chgData name="Ito Koichi" userId="7c59a57e28e385d5" providerId="LiveId" clId="{7BE1A0C3-347C-9343-AD50-5497B70087AB}" dt="2022-01-27T08:10:36.654" v="3098" actId="478"/>
          <ac:picMkLst>
            <pc:docMk/>
            <pc:sldMk cId="416035135" sldId="277"/>
            <ac:picMk id="28" creationId="{0797894D-6BE1-6E4A-9620-8E87A4DDAF8B}"/>
          </ac:picMkLst>
        </pc:picChg>
        <pc:picChg chg="del">
          <ac:chgData name="Ito Koichi" userId="7c59a57e28e385d5" providerId="LiveId" clId="{7BE1A0C3-347C-9343-AD50-5497B70087AB}" dt="2022-01-27T08:10:36.654" v="3098" actId="478"/>
          <ac:picMkLst>
            <pc:docMk/>
            <pc:sldMk cId="416035135" sldId="277"/>
            <ac:picMk id="31" creationId="{07AE5D6E-E869-1D4D-9F06-E1115D91B68C}"/>
          </ac:picMkLst>
        </pc:picChg>
        <pc:picChg chg="del">
          <ac:chgData name="Ito Koichi" userId="7c59a57e28e385d5" providerId="LiveId" clId="{7BE1A0C3-347C-9343-AD50-5497B70087AB}" dt="2022-01-27T08:10:36.654" v="3098" actId="478"/>
          <ac:picMkLst>
            <pc:docMk/>
            <pc:sldMk cId="416035135" sldId="277"/>
            <ac:picMk id="35" creationId="{26CAAB11-A4EE-E443-8B4D-C04A2DC05261}"/>
          </ac:picMkLst>
        </pc:picChg>
        <pc:picChg chg="del">
          <ac:chgData name="Ito Koichi" userId="7c59a57e28e385d5" providerId="LiveId" clId="{7BE1A0C3-347C-9343-AD50-5497B70087AB}" dt="2022-01-27T08:10:36.654" v="3098" actId="478"/>
          <ac:picMkLst>
            <pc:docMk/>
            <pc:sldMk cId="416035135" sldId="277"/>
            <ac:picMk id="37" creationId="{EDE5CCB4-0904-CA49-8D79-727AB7BB89AF}"/>
          </ac:picMkLst>
        </pc:picChg>
      </pc:sldChg>
      <pc:sldChg chg="addSp delSp modSp add mod">
        <pc:chgData name="Ito Koichi" userId="7c59a57e28e385d5" providerId="LiveId" clId="{7BE1A0C3-347C-9343-AD50-5497B70087AB}" dt="2022-02-02T01:02:37.776" v="3619"/>
        <pc:sldMkLst>
          <pc:docMk/>
          <pc:sldMk cId="1825696332" sldId="278"/>
        </pc:sldMkLst>
        <pc:spChg chg="mod">
          <ac:chgData name="Ito Koichi" userId="7c59a57e28e385d5" providerId="LiveId" clId="{7BE1A0C3-347C-9343-AD50-5497B70087AB}" dt="2022-02-02T01:02:37.776" v="3619"/>
          <ac:spMkLst>
            <pc:docMk/>
            <pc:sldMk cId="1825696332" sldId="278"/>
            <ac:spMk id="4" creationId="{2A5F6972-5246-AF49-B228-DA9DB031686D}"/>
          </ac:spMkLst>
        </pc:spChg>
        <pc:spChg chg="mod">
          <ac:chgData name="Ito Koichi" userId="7c59a57e28e385d5" providerId="LiveId" clId="{7BE1A0C3-347C-9343-AD50-5497B70087AB}" dt="2022-01-27T08:22:34.536" v="3180" actId="20577"/>
          <ac:spMkLst>
            <pc:docMk/>
            <pc:sldMk cId="1825696332" sldId="278"/>
            <ac:spMk id="10" creationId="{DDD61ABB-EBDC-FA49-AD27-5698C4A92B75}"/>
          </ac:spMkLst>
        </pc:spChg>
        <pc:spChg chg="mod">
          <ac:chgData name="Ito Koichi" userId="7c59a57e28e385d5" providerId="LiveId" clId="{7BE1A0C3-347C-9343-AD50-5497B70087AB}" dt="2022-01-27T08:23:46.745" v="3211" actId="20577"/>
          <ac:spMkLst>
            <pc:docMk/>
            <pc:sldMk cId="1825696332" sldId="278"/>
            <ac:spMk id="32" creationId="{D9C141CA-9F8C-AE41-B7B8-58A80B492D23}"/>
          </ac:spMkLst>
        </pc:spChg>
        <pc:picChg chg="del">
          <ac:chgData name="Ito Koichi" userId="7c59a57e28e385d5" providerId="LiveId" clId="{7BE1A0C3-347C-9343-AD50-5497B70087AB}" dt="2022-01-27T08:25:00.402" v="3212" actId="478"/>
          <ac:picMkLst>
            <pc:docMk/>
            <pc:sldMk cId="1825696332" sldId="278"/>
            <ac:picMk id="6" creationId="{4283E9EE-54B8-A146-9B5F-6E4D6C962F0F}"/>
          </ac:picMkLst>
        </pc:picChg>
        <pc:picChg chg="add mod">
          <ac:chgData name="Ito Koichi" userId="7c59a57e28e385d5" providerId="LiveId" clId="{7BE1A0C3-347C-9343-AD50-5497B70087AB}" dt="2022-01-27T08:26:21.376" v="3230" actId="1076"/>
          <ac:picMkLst>
            <pc:docMk/>
            <pc:sldMk cId="1825696332" sldId="278"/>
            <ac:picMk id="7" creationId="{DC4E3700-140D-454D-9105-85EBF95BCD61}"/>
          </ac:picMkLst>
        </pc:picChg>
        <pc:picChg chg="del">
          <ac:chgData name="Ito Koichi" userId="7c59a57e28e385d5" providerId="LiveId" clId="{7BE1A0C3-347C-9343-AD50-5497B70087AB}" dt="2022-01-27T08:25:00.402" v="3212" actId="478"/>
          <ac:picMkLst>
            <pc:docMk/>
            <pc:sldMk cId="1825696332" sldId="278"/>
            <ac:picMk id="8" creationId="{49EB1013-D5AE-AE45-82D2-AC2A913550ED}"/>
          </ac:picMkLst>
        </pc:picChg>
        <pc:picChg chg="del">
          <ac:chgData name="Ito Koichi" userId="7c59a57e28e385d5" providerId="LiveId" clId="{7BE1A0C3-347C-9343-AD50-5497B70087AB}" dt="2022-01-27T08:25:00.402" v="3212" actId="478"/>
          <ac:picMkLst>
            <pc:docMk/>
            <pc:sldMk cId="1825696332" sldId="278"/>
            <ac:picMk id="11" creationId="{D4DA7BE1-7A89-9740-80EC-F898B35FA380}"/>
          </ac:picMkLst>
        </pc:picChg>
        <pc:picChg chg="add mod">
          <ac:chgData name="Ito Koichi" userId="7c59a57e28e385d5" providerId="LiveId" clId="{7BE1A0C3-347C-9343-AD50-5497B70087AB}" dt="2022-01-27T08:26:21.376" v="3230" actId="1076"/>
          <ac:picMkLst>
            <pc:docMk/>
            <pc:sldMk cId="1825696332" sldId="278"/>
            <ac:picMk id="12" creationId="{61FFB74F-D297-164A-9F18-E5CA3D31F3E2}"/>
          </ac:picMkLst>
        </pc:picChg>
        <pc:picChg chg="del">
          <ac:chgData name="Ito Koichi" userId="7c59a57e28e385d5" providerId="LiveId" clId="{7BE1A0C3-347C-9343-AD50-5497B70087AB}" dt="2022-01-27T08:25:00.402" v="3212" actId="478"/>
          <ac:picMkLst>
            <pc:docMk/>
            <pc:sldMk cId="1825696332" sldId="278"/>
            <ac:picMk id="13" creationId="{529A3BEE-D152-F54A-B791-B57DA95D8F3F}"/>
          </ac:picMkLst>
        </pc:picChg>
        <pc:picChg chg="add mod">
          <ac:chgData name="Ito Koichi" userId="7c59a57e28e385d5" providerId="LiveId" clId="{7BE1A0C3-347C-9343-AD50-5497B70087AB}" dt="2022-01-27T08:26:21.376" v="3230" actId="1076"/>
          <ac:picMkLst>
            <pc:docMk/>
            <pc:sldMk cId="1825696332" sldId="278"/>
            <ac:picMk id="15" creationId="{609F17DB-A40D-134D-B316-ECBC122D0706}"/>
          </ac:picMkLst>
        </pc:picChg>
      </pc:sldChg>
      <pc:sldChg chg="addSp delSp modSp add mod">
        <pc:chgData name="Ito Koichi" userId="7c59a57e28e385d5" providerId="LiveId" clId="{7BE1A0C3-347C-9343-AD50-5497B70087AB}" dt="2022-02-02T01:02:43.868" v="3623"/>
        <pc:sldMkLst>
          <pc:docMk/>
          <pc:sldMk cId="1796130260" sldId="279"/>
        </pc:sldMkLst>
        <pc:spChg chg="mod">
          <ac:chgData name="Ito Koichi" userId="7c59a57e28e385d5" providerId="LiveId" clId="{7BE1A0C3-347C-9343-AD50-5497B70087AB}" dt="2022-01-27T08:27:02.189" v="3239" actId="20577"/>
          <ac:spMkLst>
            <pc:docMk/>
            <pc:sldMk cId="1796130260" sldId="279"/>
            <ac:spMk id="2" creationId="{18772FE0-9CC7-8E4F-A04D-DFD4A2C11F45}"/>
          </ac:spMkLst>
        </pc:spChg>
        <pc:spChg chg="mod">
          <ac:chgData name="Ito Koichi" userId="7c59a57e28e385d5" providerId="LiveId" clId="{7BE1A0C3-347C-9343-AD50-5497B70087AB}" dt="2022-02-02T01:02:43.868" v="3623"/>
          <ac:spMkLst>
            <pc:docMk/>
            <pc:sldMk cId="1796130260" sldId="279"/>
            <ac:spMk id="4" creationId="{2A5F6972-5246-AF49-B228-DA9DB031686D}"/>
          </ac:spMkLst>
        </pc:spChg>
        <pc:spChg chg="mod">
          <ac:chgData name="Ito Koichi" userId="7c59a57e28e385d5" providerId="LiveId" clId="{7BE1A0C3-347C-9343-AD50-5497B70087AB}" dt="2022-02-01T10:20:39.763" v="3444" actId="20577"/>
          <ac:spMkLst>
            <pc:docMk/>
            <pc:sldMk cId="1796130260" sldId="279"/>
            <ac:spMk id="10" creationId="{DDD61ABB-EBDC-FA49-AD27-5698C4A92B75}"/>
          </ac:spMkLst>
        </pc:spChg>
        <pc:spChg chg="add del mod">
          <ac:chgData name="Ito Koichi" userId="7c59a57e28e385d5" providerId="LiveId" clId="{7BE1A0C3-347C-9343-AD50-5497B70087AB}" dt="2022-02-01T08:46:09.966" v="3278" actId="767"/>
          <ac:spMkLst>
            <pc:docMk/>
            <pc:sldMk cId="1796130260" sldId="279"/>
            <ac:spMk id="12" creationId="{D91D218A-8914-A14D-BF90-E2858F81C28E}"/>
          </ac:spMkLst>
        </pc:spChg>
        <pc:spChg chg="mod">
          <ac:chgData name="Ito Koichi" userId="7c59a57e28e385d5" providerId="LiveId" clId="{7BE1A0C3-347C-9343-AD50-5497B70087AB}" dt="2022-02-02T01:02:42.014" v="3622" actId="5793"/>
          <ac:spMkLst>
            <pc:docMk/>
            <pc:sldMk cId="1796130260" sldId="279"/>
            <ac:spMk id="32" creationId="{D9C141CA-9F8C-AE41-B7B8-58A80B492D23}"/>
          </ac:spMkLst>
        </pc:spChg>
        <pc:picChg chg="add mod">
          <ac:chgData name="Ito Koichi" userId="7c59a57e28e385d5" providerId="LiveId" clId="{7BE1A0C3-347C-9343-AD50-5497B70087AB}" dt="2022-02-01T08:44:25.220" v="3265" actId="1076"/>
          <ac:picMkLst>
            <pc:docMk/>
            <pc:sldMk cId="1796130260" sldId="279"/>
            <ac:picMk id="6" creationId="{12C720ED-E9D7-0B46-BB4A-78D084DFA002}"/>
          </ac:picMkLst>
        </pc:picChg>
        <pc:picChg chg="del">
          <ac:chgData name="Ito Koichi" userId="7c59a57e28e385d5" providerId="LiveId" clId="{7BE1A0C3-347C-9343-AD50-5497B70087AB}" dt="2022-01-27T08:27:45.702" v="3253" actId="478"/>
          <ac:picMkLst>
            <pc:docMk/>
            <pc:sldMk cId="1796130260" sldId="279"/>
            <ac:picMk id="7" creationId="{DC4E3700-140D-454D-9105-85EBF95BCD61}"/>
          </ac:picMkLst>
        </pc:picChg>
        <pc:picChg chg="add mod">
          <ac:chgData name="Ito Koichi" userId="7c59a57e28e385d5" providerId="LiveId" clId="{7BE1A0C3-347C-9343-AD50-5497B70087AB}" dt="2022-02-01T08:44:48.053" v="3271" actId="1076"/>
          <ac:picMkLst>
            <pc:docMk/>
            <pc:sldMk cId="1796130260" sldId="279"/>
            <ac:picMk id="8" creationId="{A08A2E49-50F1-A14A-9CE4-11F4A8B1A784}"/>
          </ac:picMkLst>
        </pc:picChg>
        <pc:picChg chg="add mod">
          <ac:chgData name="Ito Koichi" userId="7c59a57e28e385d5" providerId="LiveId" clId="{7BE1A0C3-347C-9343-AD50-5497B70087AB}" dt="2022-02-01T08:58:58.845" v="3360" actId="14100"/>
          <ac:picMkLst>
            <pc:docMk/>
            <pc:sldMk cId="1796130260" sldId="279"/>
            <ac:picMk id="11" creationId="{C35C1CC0-864A-9B44-81C5-0E032CEA058A}"/>
          </ac:picMkLst>
        </pc:picChg>
        <pc:picChg chg="del">
          <ac:chgData name="Ito Koichi" userId="7c59a57e28e385d5" providerId="LiveId" clId="{7BE1A0C3-347C-9343-AD50-5497B70087AB}" dt="2022-01-27T08:27:45.702" v="3253" actId="478"/>
          <ac:picMkLst>
            <pc:docMk/>
            <pc:sldMk cId="1796130260" sldId="279"/>
            <ac:picMk id="12" creationId="{61FFB74F-D297-164A-9F18-E5CA3D31F3E2}"/>
          </ac:picMkLst>
        </pc:picChg>
        <pc:picChg chg="del">
          <ac:chgData name="Ito Koichi" userId="7c59a57e28e385d5" providerId="LiveId" clId="{7BE1A0C3-347C-9343-AD50-5497B70087AB}" dt="2022-01-27T08:27:45.702" v="3253" actId="478"/>
          <ac:picMkLst>
            <pc:docMk/>
            <pc:sldMk cId="1796130260" sldId="279"/>
            <ac:picMk id="15" creationId="{609F17DB-A40D-134D-B316-ECBC122D0706}"/>
          </ac:picMkLst>
        </pc:picChg>
      </pc:sldChg>
      <pc:sldChg chg="addSp delSp modSp add mod">
        <pc:chgData name="Ito Koichi" userId="7c59a57e28e385d5" providerId="LiveId" clId="{7BE1A0C3-347C-9343-AD50-5497B70087AB}" dt="2022-02-02T01:02:51.056" v="3629"/>
        <pc:sldMkLst>
          <pc:docMk/>
          <pc:sldMk cId="543936518" sldId="280"/>
        </pc:sldMkLst>
        <pc:spChg chg="mod">
          <ac:chgData name="Ito Koichi" userId="7c59a57e28e385d5" providerId="LiveId" clId="{7BE1A0C3-347C-9343-AD50-5497B70087AB}" dt="2022-02-02T01:02:51.056" v="3629"/>
          <ac:spMkLst>
            <pc:docMk/>
            <pc:sldMk cId="543936518" sldId="280"/>
            <ac:spMk id="4" creationId="{2A5F6972-5246-AF49-B228-DA9DB031686D}"/>
          </ac:spMkLst>
        </pc:spChg>
        <pc:spChg chg="mod">
          <ac:chgData name="Ito Koichi" userId="7c59a57e28e385d5" providerId="LiveId" clId="{7BE1A0C3-347C-9343-AD50-5497B70087AB}" dt="2022-02-01T10:20:27.581" v="3424" actId="20577"/>
          <ac:spMkLst>
            <pc:docMk/>
            <pc:sldMk cId="543936518" sldId="280"/>
            <ac:spMk id="10" creationId="{DDD61ABB-EBDC-FA49-AD27-5698C4A92B75}"/>
          </ac:spMkLst>
        </pc:spChg>
        <pc:spChg chg="mod">
          <ac:chgData name="Ito Koichi" userId="7c59a57e28e385d5" providerId="LiveId" clId="{7BE1A0C3-347C-9343-AD50-5497B70087AB}" dt="2022-02-02T01:02:49.344" v="3628" actId="20577"/>
          <ac:spMkLst>
            <pc:docMk/>
            <pc:sldMk cId="543936518" sldId="280"/>
            <ac:spMk id="32" creationId="{D9C141CA-9F8C-AE41-B7B8-58A80B492D23}"/>
          </ac:spMkLst>
        </pc:spChg>
        <pc:picChg chg="del">
          <ac:chgData name="Ito Koichi" userId="7c59a57e28e385d5" providerId="LiveId" clId="{7BE1A0C3-347C-9343-AD50-5497B70087AB}" dt="2022-02-01T08:55:19.240" v="3343" actId="478"/>
          <ac:picMkLst>
            <pc:docMk/>
            <pc:sldMk cId="543936518" sldId="280"/>
            <ac:picMk id="6" creationId="{12C720ED-E9D7-0B46-BB4A-78D084DFA002}"/>
          </ac:picMkLst>
        </pc:picChg>
        <pc:picChg chg="add mod">
          <ac:chgData name="Ito Koichi" userId="7c59a57e28e385d5" providerId="LiveId" clId="{7BE1A0C3-347C-9343-AD50-5497B70087AB}" dt="2022-02-01T08:59:42.525" v="3372" actId="1076"/>
          <ac:picMkLst>
            <pc:docMk/>
            <pc:sldMk cId="543936518" sldId="280"/>
            <ac:picMk id="7" creationId="{616154AA-7A6C-9F4D-BAA3-433A714AD473}"/>
          </ac:picMkLst>
        </pc:picChg>
        <pc:picChg chg="del">
          <ac:chgData name="Ito Koichi" userId="7c59a57e28e385d5" providerId="LiveId" clId="{7BE1A0C3-347C-9343-AD50-5497B70087AB}" dt="2022-02-01T08:55:20.678" v="3344" actId="478"/>
          <ac:picMkLst>
            <pc:docMk/>
            <pc:sldMk cId="543936518" sldId="280"/>
            <ac:picMk id="8" creationId="{A08A2E49-50F1-A14A-9CE4-11F4A8B1A784}"/>
          </ac:picMkLst>
        </pc:picChg>
        <pc:picChg chg="del">
          <ac:chgData name="Ito Koichi" userId="7c59a57e28e385d5" providerId="LiveId" clId="{7BE1A0C3-347C-9343-AD50-5497B70087AB}" dt="2022-02-01T08:55:20.678" v="3344" actId="478"/>
          <ac:picMkLst>
            <pc:docMk/>
            <pc:sldMk cId="543936518" sldId="280"/>
            <ac:picMk id="11" creationId="{C35C1CC0-864A-9B44-81C5-0E032CEA058A}"/>
          </ac:picMkLst>
        </pc:picChg>
        <pc:picChg chg="add mod">
          <ac:chgData name="Ito Koichi" userId="7c59a57e28e385d5" providerId="LiveId" clId="{7BE1A0C3-347C-9343-AD50-5497B70087AB}" dt="2022-02-01T08:59:54.810" v="3375" actId="1076"/>
          <ac:picMkLst>
            <pc:docMk/>
            <pc:sldMk cId="543936518" sldId="280"/>
            <ac:picMk id="12" creationId="{E4DB8213-20DE-8847-8B8E-7AA532B1BB4D}"/>
          </ac:picMkLst>
        </pc:picChg>
        <pc:picChg chg="add mod">
          <ac:chgData name="Ito Koichi" userId="7c59a57e28e385d5" providerId="LiveId" clId="{7BE1A0C3-347C-9343-AD50-5497B70087AB}" dt="2022-02-01T08:59:29.441" v="3370" actId="1076"/>
          <ac:picMkLst>
            <pc:docMk/>
            <pc:sldMk cId="543936518" sldId="280"/>
            <ac:picMk id="14" creationId="{36D26B5A-BE2D-C74A-8E70-DA1B863B88DF}"/>
          </ac:picMkLst>
        </pc:picChg>
        <pc:picChg chg="add mod">
          <ac:chgData name="Ito Koichi" userId="7c59a57e28e385d5" providerId="LiveId" clId="{7BE1A0C3-347C-9343-AD50-5497B70087AB}" dt="2022-02-01T08:59:51.894" v="3374" actId="1076"/>
          <ac:picMkLst>
            <pc:docMk/>
            <pc:sldMk cId="543936518" sldId="280"/>
            <ac:picMk id="16" creationId="{59F1F02E-E34F-8F4E-AA9A-DAA5B86F632C}"/>
          </ac:picMkLst>
        </pc:picChg>
      </pc:sldChg>
      <pc:sldChg chg="addSp delSp modSp add mod">
        <pc:chgData name="Ito Koichi" userId="7c59a57e28e385d5" providerId="LiveId" clId="{7BE1A0C3-347C-9343-AD50-5497B70087AB}" dt="2022-02-02T01:02:54.186" v="3630"/>
        <pc:sldMkLst>
          <pc:docMk/>
          <pc:sldMk cId="4067997508" sldId="281"/>
        </pc:sldMkLst>
        <pc:spChg chg="mod">
          <ac:chgData name="Ito Koichi" userId="7c59a57e28e385d5" providerId="LiveId" clId="{7BE1A0C3-347C-9343-AD50-5497B70087AB}" dt="2022-02-02T01:02:54.186" v="3630"/>
          <ac:spMkLst>
            <pc:docMk/>
            <pc:sldMk cId="4067997508" sldId="281"/>
            <ac:spMk id="4" creationId="{2A5F6972-5246-AF49-B228-DA9DB031686D}"/>
          </ac:spMkLst>
        </pc:spChg>
        <pc:spChg chg="mod">
          <ac:chgData name="Ito Koichi" userId="7c59a57e28e385d5" providerId="LiveId" clId="{7BE1A0C3-347C-9343-AD50-5497B70087AB}" dt="2022-02-01T10:20:33.856" v="3434" actId="20577"/>
          <ac:spMkLst>
            <pc:docMk/>
            <pc:sldMk cId="4067997508" sldId="281"/>
            <ac:spMk id="10" creationId="{DDD61ABB-EBDC-FA49-AD27-5698C4A92B75}"/>
          </ac:spMkLst>
        </pc:spChg>
        <pc:spChg chg="mod">
          <ac:chgData name="Ito Koichi" userId="7c59a57e28e385d5" providerId="LiveId" clId="{7BE1A0C3-347C-9343-AD50-5497B70087AB}" dt="2022-02-01T10:20:36.772" v="3440" actId="20577"/>
          <ac:spMkLst>
            <pc:docMk/>
            <pc:sldMk cId="4067997508" sldId="281"/>
            <ac:spMk id="32" creationId="{D9C141CA-9F8C-AE41-B7B8-58A80B492D23}"/>
          </ac:spMkLst>
        </pc:spChg>
        <pc:picChg chg="add mod">
          <ac:chgData name="Ito Koichi" userId="7c59a57e28e385d5" providerId="LiveId" clId="{7BE1A0C3-347C-9343-AD50-5497B70087AB}" dt="2022-02-01T10:17:49.235" v="3394" actId="1076"/>
          <ac:picMkLst>
            <pc:docMk/>
            <pc:sldMk cId="4067997508" sldId="281"/>
            <ac:picMk id="6" creationId="{94082C37-8E4C-CF40-8FF2-141D49C802ED}"/>
          </ac:picMkLst>
        </pc:picChg>
        <pc:picChg chg="del">
          <ac:chgData name="Ito Koichi" userId="7c59a57e28e385d5" providerId="LiveId" clId="{7BE1A0C3-347C-9343-AD50-5497B70087AB}" dt="2022-02-01T10:15:33.829" v="3377" actId="478"/>
          <ac:picMkLst>
            <pc:docMk/>
            <pc:sldMk cId="4067997508" sldId="281"/>
            <ac:picMk id="7" creationId="{616154AA-7A6C-9F4D-BAA3-433A714AD473}"/>
          </ac:picMkLst>
        </pc:picChg>
        <pc:picChg chg="add mod">
          <ac:chgData name="Ito Koichi" userId="7c59a57e28e385d5" providerId="LiveId" clId="{7BE1A0C3-347C-9343-AD50-5497B70087AB}" dt="2022-02-01T10:17:58.452" v="3396" actId="1076"/>
          <ac:picMkLst>
            <pc:docMk/>
            <pc:sldMk cId="4067997508" sldId="281"/>
            <ac:picMk id="9" creationId="{5F7FEDAD-4424-5C4F-8894-929EDFE11D20}"/>
          </ac:picMkLst>
        </pc:picChg>
        <pc:picChg chg="del">
          <ac:chgData name="Ito Koichi" userId="7c59a57e28e385d5" providerId="LiveId" clId="{7BE1A0C3-347C-9343-AD50-5497B70087AB}" dt="2022-02-01T10:15:33.829" v="3377" actId="478"/>
          <ac:picMkLst>
            <pc:docMk/>
            <pc:sldMk cId="4067997508" sldId="281"/>
            <ac:picMk id="12" creationId="{E4DB8213-20DE-8847-8B8E-7AA532B1BB4D}"/>
          </ac:picMkLst>
        </pc:picChg>
        <pc:picChg chg="add mod">
          <ac:chgData name="Ito Koichi" userId="7c59a57e28e385d5" providerId="LiveId" clId="{7BE1A0C3-347C-9343-AD50-5497B70087AB}" dt="2022-02-01T10:17:46.869" v="3393" actId="1076"/>
          <ac:picMkLst>
            <pc:docMk/>
            <pc:sldMk cId="4067997508" sldId="281"/>
            <ac:picMk id="13" creationId="{26375A10-1943-7341-B4A1-A04468CF2EEF}"/>
          </ac:picMkLst>
        </pc:picChg>
        <pc:picChg chg="del">
          <ac:chgData name="Ito Koichi" userId="7c59a57e28e385d5" providerId="LiveId" clId="{7BE1A0C3-347C-9343-AD50-5497B70087AB}" dt="2022-02-01T10:15:33.829" v="3377" actId="478"/>
          <ac:picMkLst>
            <pc:docMk/>
            <pc:sldMk cId="4067997508" sldId="281"/>
            <ac:picMk id="14" creationId="{36D26B5A-BE2D-C74A-8E70-DA1B863B88DF}"/>
          </ac:picMkLst>
        </pc:picChg>
        <pc:picChg chg="del">
          <ac:chgData name="Ito Koichi" userId="7c59a57e28e385d5" providerId="LiveId" clId="{7BE1A0C3-347C-9343-AD50-5497B70087AB}" dt="2022-02-01T10:15:33.829" v="3377" actId="478"/>
          <ac:picMkLst>
            <pc:docMk/>
            <pc:sldMk cId="4067997508" sldId="281"/>
            <ac:picMk id="16" creationId="{59F1F02E-E34F-8F4E-AA9A-DAA5B86F632C}"/>
          </ac:picMkLst>
        </pc:picChg>
        <pc:cxnChg chg="mod">
          <ac:chgData name="Ito Koichi" userId="7c59a57e28e385d5" providerId="LiveId" clId="{7BE1A0C3-347C-9343-AD50-5497B70087AB}" dt="2022-02-01T10:20:07.769" v="3418" actId="1076"/>
          <ac:cxnSpMkLst>
            <pc:docMk/>
            <pc:sldMk cId="4067997508" sldId="281"/>
            <ac:cxnSpMk id="27" creationId="{3F56727B-45E8-4E49-B025-495D6EF252EC}"/>
          </ac:cxnSpMkLst>
        </pc:cxnChg>
      </pc:sldChg>
      <pc:sldChg chg="modSp add mod">
        <pc:chgData name="Ito Koichi" userId="7c59a57e28e385d5" providerId="LiveId" clId="{7BE1A0C3-347C-9343-AD50-5497B70087AB}" dt="2022-02-01T10:21:19.290" v="3451"/>
        <pc:sldMkLst>
          <pc:docMk/>
          <pc:sldMk cId="467404387" sldId="282"/>
        </pc:sldMkLst>
        <pc:spChg chg="mod">
          <ac:chgData name="Ito Koichi" userId="7c59a57e28e385d5" providerId="LiveId" clId="{7BE1A0C3-347C-9343-AD50-5497B70087AB}" dt="2022-02-01T10:21:19.290" v="3451"/>
          <ac:spMkLst>
            <pc:docMk/>
            <pc:sldMk cId="467404387" sldId="282"/>
            <ac:spMk id="2" creationId="{E01226A3-FD12-4BA7-ABF5-9D408688073E}"/>
          </ac:spMkLst>
        </pc:spChg>
      </pc:sldChg>
      <pc:sldChg chg="addSp delSp modSp add mod">
        <pc:chgData name="Ito Koichi" userId="7c59a57e28e385d5" providerId="LiveId" clId="{7BE1A0C3-347C-9343-AD50-5497B70087AB}" dt="2022-02-02T01:06:57.621" v="3674" actId="1076"/>
        <pc:sldMkLst>
          <pc:docMk/>
          <pc:sldMk cId="2749391245" sldId="283"/>
        </pc:sldMkLst>
        <pc:spChg chg="mod">
          <ac:chgData name="Ito Koichi" userId="7c59a57e28e385d5" providerId="LiveId" clId="{7BE1A0C3-347C-9343-AD50-5497B70087AB}" dt="2022-02-01T10:21:55.462" v="3453"/>
          <ac:spMkLst>
            <pc:docMk/>
            <pc:sldMk cId="2749391245" sldId="283"/>
            <ac:spMk id="2" creationId="{18772FE0-9CC7-8E4F-A04D-DFD4A2C11F45}"/>
          </ac:spMkLst>
        </pc:spChg>
        <pc:spChg chg="mod">
          <ac:chgData name="Ito Koichi" userId="7c59a57e28e385d5" providerId="LiveId" clId="{7BE1A0C3-347C-9343-AD50-5497B70087AB}" dt="2022-02-02T01:02:57.756" v="3631"/>
          <ac:spMkLst>
            <pc:docMk/>
            <pc:sldMk cId="2749391245" sldId="283"/>
            <ac:spMk id="4" creationId="{2A5F6972-5246-AF49-B228-DA9DB031686D}"/>
          </ac:spMkLst>
        </pc:spChg>
        <pc:spChg chg="mod">
          <ac:chgData name="Ito Koichi" userId="7c59a57e28e385d5" providerId="LiveId" clId="{7BE1A0C3-347C-9343-AD50-5497B70087AB}" dt="2022-02-02T00:30:30.936" v="3465" actId="20577"/>
          <ac:spMkLst>
            <pc:docMk/>
            <pc:sldMk cId="2749391245" sldId="283"/>
            <ac:spMk id="10" creationId="{DDD61ABB-EBDC-FA49-AD27-5698C4A92B75}"/>
          </ac:spMkLst>
        </pc:spChg>
        <pc:spChg chg="mod">
          <ac:chgData name="Ito Koichi" userId="7c59a57e28e385d5" providerId="LiveId" clId="{7BE1A0C3-347C-9343-AD50-5497B70087AB}" dt="2022-02-02T00:49:14.994" v="3491" actId="1076"/>
          <ac:spMkLst>
            <pc:docMk/>
            <pc:sldMk cId="2749391245" sldId="283"/>
            <ac:spMk id="32" creationId="{D9C141CA-9F8C-AE41-B7B8-58A80B492D23}"/>
          </ac:spMkLst>
        </pc:spChg>
        <pc:picChg chg="add mod">
          <ac:chgData name="Ito Koichi" userId="7c59a57e28e385d5" providerId="LiveId" clId="{7BE1A0C3-347C-9343-AD50-5497B70087AB}" dt="2022-02-02T00:48:57.444" v="3489" actId="1076"/>
          <ac:picMkLst>
            <pc:docMk/>
            <pc:sldMk cId="2749391245" sldId="283"/>
            <ac:picMk id="6" creationId="{06E0490D-AE1D-C341-8D08-6E3F5741730C}"/>
          </ac:picMkLst>
        </pc:picChg>
        <pc:picChg chg="del">
          <ac:chgData name="Ito Koichi" userId="7c59a57e28e385d5" providerId="LiveId" clId="{7BE1A0C3-347C-9343-AD50-5497B70087AB}" dt="2022-02-02T00:47:09.792" v="3469" actId="478"/>
          <ac:picMkLst>
            <pc:docMk/>
            <pc:sldMk cId="2749391245" sldId="283"/>
            <ac:picMk id="7" creationId="{616154AA-7A6C-9F4D-BAA3-433A714AD473}"/>
          </ac:picMkLst>
        </pc:picChg>
        <pc:picChg chg="add mod">
          <ac:chgData name="Ito Koichi" userId="7c59a57e28e385d5" providerId="LiveId" clId="{7BE1A0C3-347C-9343-AD50-5497B70087AB}" dt="2022-02-02T00:49:31.357" v="3494" actId="166"/>
          <ac:picMkLst>
            <pc:docMk/>
            <pc:sldMk cId="2749391245" sldId="283"/>
            <ac:picMk id="9" creationId="{1567BE1C-68D2-B444-8CC1-B7FF156EC4B5}"/>
          </ac:picMkLst>
        </pc:picChg>
        <pc:picChg chg="del">
          <ac:chgData name="Ito Koichi" userId="7c59a57e28e385d5" providerId="LiveId" clId="{7BE1A0C3-347C-9343-AD50-5497B70087AB}" dt="2022-02-02T00:47:09.792" v="3469" actId="478"/>
          <ac:picMkLst>
            <pc:docMk/>
            <pc:sldMk cId="2749391245" sldId="283"/>
            <ac:picMk id="12" creationId="{E4DB8213-20DE-8847-8B8E-7AA532B1BB4D}"/>
          </ac:picMkLst>
        </pc:picChg>
        <pc:picChg chg="add mod">
          <ac:chgData name="Ito Koichi" userId="7c59a57e28e385d5" providerId="LiveId" clId="{7BE1A0C3-347C-9343-AD50-5497B70087AB}" dt="2022-02-02T00:48:55.595" v="3488" actId="1076"/>
          <ac:picMkLst>
            <pc:docMk/>
            <pc:sldMk cId="2749391245" sldId="283"/>
            <ac:picMk id="13" creationId="{39ABF7AF-7E32-814B-93DA-66E83AAB45E1}"/>
          </ac:picMkLst>
        </pc:picChg>
        <pc:picChg chg="del">
          <ac:chgData name="Ito Koichi" userId="7c59a57e28e385d5" providerId="LiveId" clId="{7BE1A0C3-347C-9343-AD50-5497B70087AB}" dt="2022-02-02T00:47:09.792" v="3469" actId="478"/>
          <ac:picMkLst>
            <pc:docMk/>
            <pc:sldMk cId="2749391245" sldId="283"/>
            <ac:picMk id="14" creationId="{36D26B5A-BE2D-C74A-8E70-DA1B863B88DF}"/>
          </ac:picMkLst>
        </pc:picChg>
        <pc:picChg chg="del">
          <ac:chgData name="Ito Koichi" userId="7c59a57e28e385d5" providerId="LiveId" clId="{7BE1A0C3-347C-9343-AD50-5497B70087AB}" dt="2022-02-02T00:47:09.792" v="3469" actId="478"/>
          <ac:picMkLst>
            <pc:docMk/>
            <pc:sldMk cId="2749391245" sldId="283"/>
            <ac:picMk id="16" creationId="{59F1F02E-E34F-8F4E-AA9A-DAA5B86F632C}"/>
          </ac:picMkLst>
        </pc:picChg>
        <pc:picChg chg="add mod">
          <ac:chgData name="Ito Koichi" userId="7c59a57e28e385d5" providerId="LiveId" clId="{7BE1A0C3-347C-9343-AD50-5497B70087AB}" dt="2022-02-02T01:06:25.739" v="3669" actId="1076"/>
          <ac:picMkLst>
            <pc:docMk/>
            <pc:sldMk cId="2749391245" sldId="283"/>
            <ac:picMk id="17" creationId="{093DDB9E-38AF-1743-9774-4E57EEBA7734}"/>
          </ac:picMkLst>
        </pc:picChg>
        <pc:cxnChg chg="mod">
          <ac:chgData name="Ito Koichi" userId="7c59a57e28e385d5" providerId="LiveId" clId="{7BE1A0C3-347C-9343-AD50-5497B70087AB}" dt="2022-02-02T01:06:57.621" v="3674" actId="1076"/>
          <ac:cxnSpMkLst>
            <pc:docMk/>
            <pc:sldMk cId="2749391245" sldId="283"/>
            <ac:cxnSpMk id="27" creationId="{3F56727B-45E8-4E49-B025-495D6EF252EC}"/>
          </ac:cxnSpMkLst>
        </pc:cxnChg>
      </pc:sldChg>
      <pc:sldChg chg="modSp add mod">
        <pc:chgData name="Ito Koichi" userId="7c59a57e28e385d5" providerId="LiveId" clId="{7BE1A0C3-347C-9343-AD50-5497B70087AB}" dt="2022-02-02T00:50:21.281" v="3504" actId="20577"/>
        <pc:sldMkLst>
          <pc:docMk/>
          <pc:sldMk cId="647443771" sldId="284"/>
        </pc:sldMkLst>
        <pc:spChg chg="mod">
          <ac:chgData name="Ito Koichi" userId="7c59a57e28e385d5" providerId="LiveId" clId="{7BE1A0C3-347C-9343-AD50-5497B70087AB}" dt="2022-02-02T00:50:21.281" v="3504" actId="20577"/>
          <ac:spMkLst>
            <pc:docMk/>
            <pc:sldMk cId="647443771" sldId="284"/>
            <ac:spMk id="2" creationId="{E01226A3-FD12-4BA7-ABF5-9D408688073E}"/>
          </ac:spMkLst>
        </pc:spChg>
      </pc:sldChg>
      <pc:sldChg chg="addSp delSp modSp add mod">
        <pc:chgData name="Ito Koichi" userId="7c59a57e28e385d5" providerId="LiveId" clId="{7BE1A0C3-347C-9343-AD50-5497B70087AB}" dt="2022-02-02T01:04:56.940" v="3661" actId="1076"/>
        <pc:sldMkLst>
          <pc:docMk/>
          <pc:sldMk cId="3620493443" sldId="285"/>
        </pc:sldMkLst>
        <pc:spChg chg="mod">
          <ac:chgData name="Ito Koichi" userId="7c59a57e28e385d5" providerId="LiveId" clId="{7BE1A0C3-347C-9343-AD50-5497B70087AB}" dt="2022-02-02T00:56:26.653" v="3506"/>
          <ac:spMkLst>
            <pc:docMk/>
            <pc:sldMk cId="3620493443" sldId="285"/>
            <ac:spMk id="2" creationId="{18772FE0-9CC7-8E4F-A04D-DFD4A2C11F45}"/>
          </ac:spMkLst>
        </pc:spChg>
        <pc:spChg chg="mod">
          <ac:chgData name="Ito Koichi" userId="7c59a57e28e385d5" providerId="LiveId" clId="{7BE1A0C3-347C-9343-AD50-5497B70087AB}" dt="2022-02-02T01:03:05.002" v="3637"/>
          <ac:spMkLst>
            <pc:docMk/>
            <pc:sldMk cId="3620493443" sldId="285"/>
            <ac:spMk id="4" creationId="{2A5F6972-5246-AF49-B228-DA9DB031686D}"/>
          </ac:spMkLst>
        </pc:spChg>
        <pc:spChg chg="mod">
          <ac:chgData name="Ito Koichi" userId="7c59a57e28e385d5" providerId="LiveId" clId="{7BE1A0C3-347C-9343-AD50-5497B70087AB}" dt="2022-02-02T01:03:43.744" v="3638" actId="20577"/>
          <ac:spMkLst>
            <pc:docMk/>
            <pc:sldMk cId="3620493443" sldId="285"/>
            <ac:spMk id="10" creationId="{DDD61ABB-EBDC-FA49-AD27-5698C4A92B75}"/>
          </ac:spMkLst>
        </pc:spChg>
        <pc:spChg chg="mod">
          <ac:chgData name="Ito Koichi" userId="7c59a57e28e385d5" providerId="LiveId" clId="{7BE1A0C3-347C-9343-AD50-5497B70087AB}" dt="2022-02-02T01:03:49.333" v="3639" actId="20577"/>
          <ac:spMkLst>
            <pc:docMk/>
            <pc:sldMk cId="3620493443" sldId="285"/>
            <ac:spMk id="32" creationId="{D9C141CA-9F8C-AE41-B7B8-58A80B492D23}"/>
          </ac:spMkLst>
        </pc:spChg>
        <pc:picChg chg="add mod">
          <ac:chgData name="Ito Koichi" userId="7c59a57e28e385d5" providerId="LiveId" clId="{7BE1A0C3-347C-9343-AD50-5497B70087AB}" dt="2022-02-02T01:04:10.025" v="3644" actId="1076"/>
          <ac:picMkLst>
            <pc:docMk/>
            <pc:sldMk cId="3620493443" sldId="285"/>
            <ac:picMk id="6" creationId="{404FAFB2-C9BF-9441-81A3-55415B5F1C73}"/>
          </ac:picMkLst>
        </pc:picChg>
        <pc:picChg chg="del">
          <ac:chgData name="Ito Koichi" userId="7c59a57e28e385d5" providerId="LiveId" clId="{7BE1A0C3-347C-9343-AD50-5497B70087AB}" dt="2022-02-02T00:57:19.135" v="3542" actId="478"/>
          <ac:picMkLst>
            <pc:docMk/>
            <pc:sldMk cId="3620493443" sldId="285"/>
            <ac:picMk id="7" creationId="{616154AA-7A6C-9F4D-BAA3-433A714AD473}"/>
          </ac:picMkLst>
        </pc:picChg>
        <pc:picChg chg="add mod">
          <ac:chgData name="Ito Koichi" userId="7c59a57e28e385d5" providerId="LiveId" clId="{7BE1A0C3-347C-9343-AD50-5497B70087AB}" dt="2022-02-02T01:04:56.940" v="3661" actId="1076"/>
          <ac:picMkLst>
            <pc:docMk/>
            <pc:sldMk cId="3620493443" sldId="285"/>
            <ac:picMk id="7" creationId="{63B5EE57-916D-AF49-9F80-3C9D178639A2}"/>
          </ac:picMkLst>
        </pc:picChg>
        <pc:picChg chg="add mod">
          <ac:chgData name="Ito Koichi" userId="7c59a57e28e385d5" providerId="LiveId" clId="{7BE1A0C3-347C-9343-AD50-5497B70087AB}" dt="2022-02-02T01:04:10.025" v="3644" actId="1076"/>
          <ac:picMkLst>
            <pc:docMk/>
            <pc:sldMk cId="3620493443" sldId="285"/>
            <ac:picMk id="9" creationId="{F68A214B-F3FB-7B4C-8E80-4D68B0C40E8B}"/>
          </ac:picMkLst>
        </pc:picChg>
        <pc:picChg chg="add mod">
          <ac:chgData name="Ito Koichi" userId="7c59a57e28e385d5" providerId="LiveId" clId="{7BE1A0C3-347C-9343-AD50-5497B70087AB}" dt="2022-02-02T01:04:56.940" v="3661" actId="1076"/>
          <ac:picMkLst>
            <pc:docMk/>
            <pc:sldMk cId="3620493443" sldId="285"/>
            <ac:picMk id="11" creationId="{0C0D4603-9F2F-4E48-8BED-3E5A527D84A0}"/>
          </ac:picMkLst>
        </pc:picChg>
        <pc:picChg chg="del">
          <ac:chgData name="Ito Koichi" userId="7c59a57e28e385d5" providerId="LiveId" clId="{7BE1A0C3-347C-9343-AD50-5497B70087AB}" dt="2022-02-02T00:57:19.135" v="3542" actId="478"/>
          <ac:picMkLst>
            <pc:docMk/>
            <pc:sldMk cId="3620493443" sldId="285"/>
            <ac:picMk id="12" creationId="{E4DB8213-20DE-8847-8B8E-7AA532B1BB4D}"/>
          </ac:picMkLst>
        </pc:picChg>
        <pc:picChg chg="del">
          <ac:chgData name="Ito Koichi" userId="7c59a57e28e385d5" providerId="LiveId" clId="{7BE1A0C3-347C-9343-AD50-5497B70087AB}" dt="2022-02-02T00:57:19.135" v="3542" actId="478"/>
          <ac:picMkLst>
            <pc:docMk/>
            <pc:sldMk cId="3620493443" sldId="285"/>
            <ac:picMk id="14" creationId="{36D26B5A-BE2D-C74A-8E70-DA1B863B88DF}"/>
          </ac:picMkLst>
        </pc:picChg>
        <pc:picChg chg="del">
          <ac:chgData name="Ito Koichi" userId="7c59a57e28e385d5" providerId="LiveId" clId="{7BE1A0C3-347C-9343-AD50-5497B70087AB}" dt="2022-02-02T00:57:19.135" v="3542" actId="478"/>
          <ac:picMkLst>
            <pc:docMk/>
            <pc:sldMk cId="3620493443" sldId="285"/>
            <ac:picMk id="16" creationId="{59F1F02E-E34F-8F4E-AA9A-DAA5B86F632C}"/>
          </ac:picMkLst>
        </pc:picChg>
      </pc:sldChg>
      <pc:sldChg chg="addSp delSp modSp add mod">
        <pc:chgData name="Ito Koichi" userId="7c59a57e28e385d5" providerId="LiveId" clId="{7BE1A0C3-347C-9343-AD50-5497B70087AB}" dt="2022-02-02T01:15:49.422" v="3728" actId="1076"/>
        <pc:sldMkLst>
          <pc:docMk/>
          <pc:sldMk cId="1750090798" sldId="286"/>
        </pc:sldMkLst>
        <pc:spChg chg="mod">
          <ac:chgData name="Ito Koichi" userId="7c59a57e28e385d5" providerId="LiveId" clId="{7BE1A0C3-347C-9343-AD50-5497B70087AB}" dt="2022-02-02T01:13:19.030" v="3692" actId="20577"/>
          <ac:spMkLst>
            <pc:docMk/>
            <pc:sldMk cId="1750090798" sldId="286"/>
            <ac:spMk id="10" creationId="{DDD61ABB-EBDC-FA49-AD27-5698C4A92B75}"/>
          </ac:spMkLst>
        </pc:spChg>
        <pc:spChg chg="mod">
          <ac:chgData name="Ito Koichi" userId="7c59a57e28e385d5" providerId="LiveId" clId="{7BE1A0C3-347C-9343-AD50-5497B70087AB}" dt="2022-02-02T01:13:28.535" v="3693"/>
          <ac:spMkLst>
            <pc:docMk/>
            <pc:sldMk cId="1750090798" sldId="286"/>
            <ac:spMk id="32" creationId="{D9C141CA-9F8C-AE41-B7B8-58A80B492D23}"/>
          </ac:spMkLst>
        </pc:spChg>
        <pc:picChg chg="del">
          <ac:chgData name="Ito Koichi" userId="7c59a57e28e385d5" providerId="LiveId" clId="{7BE1A0C3-347C-9343-AD50-5497B70087AB}" dt="2022-02-02T01:13:47.057" v="3694" actId="478"/>
          <ac:picMkLst>
            <pc:docMk/>
            <pc:sldMk cId="1750090798" sldId="286"/>
            <ac:picMk id="6" creationId="{404FAFB2-C9BF-9441-81A3-55415B5F1C73}"/>
          </ac:picMkLst>
        </pc:picChg>
        <pc:picChg chg="del">
          <ac:chgData name="Ito Koichi" userId="7c59a57e28e385d5" providerId="LiveId" clId="{7BE1A0C3-347C-9343-AD50-5497B70087AB}" dt="2022-02-02T01:13:50.860" v="3695" actId="478"/>
          <ac:picMkLst>
            <pc:docMk/>
            <pc:sldMk cId="1750090798" sldId="286"/>
            <ac:picMk id="7" creationId="{63B5EE57-916D-AF49-9F80-3C9D178639A2}"/>
          </ac:picMkLst>
        </pc:picChg>
        <pc:picChg chg="add mod">
          <ac:chgData name="Ito Koichi" userId="7c59a57e28e385d5" providerId="LiveId" clId="{7BE1A0C3-347C-9343-AD50-5497B70087AB}" dt="2022-02-02T01:15:46.419" v="3727" actId="1076"/>
          <ac:picMkLst>
            <pc:docMk/>
            <pc:sldMk cId="1750090798" sldId="286"/>
            <ac:picMk id="8" creationId="{AED3D7F2-1427-F44D-AEE1-ACCEB20F2AD3}"/>
          </ac:picMkLst>
        </pc:picChg>
        <pc:picChg chg="del">
          <ac:chgData name="Ito Koichi" userId="7c59a57e28e385d5" providerId="LiveId" clId="{7BE1A0C3-347C-9343-AD50-5497B70087AB}" dt="2022-02-02T01:13:47.057" v="3694" actId="478"/>
          <ac:picMkLst>
            <pc:docMk/>
            <pc:sldMk cId="1750090798" sldId="286"/>
            <ac:picMk id="9" creationId="{F68A214B-F3FB-7B4C-8E80-4D68B0C40E8B}"/>
          </ac:picMkLst>
        </pc:picChg>
        <pc:picChg chg="del">
          <ac:chgData name="Ito Koichi" userId="7c59a57e28e385d5" providerId="LiveId" clId="{7BE1A0C3-347C-9343-AD50-5497B70087AB}" dt="2022-02-02T01:13:50.860" v="3695" actId="478"/>
          <ac:picMkLst>
            <pc:docMk/>
            <pc:sldMk cId="1750090798" sldId="286"/>
            <ac:picMk id="11" creationId="{0C0D4603-9F2F-4E48-8BED-3E5A527D84A0}"/>
          </ac:picMkLst>
        </pc:picChg>
        <pc:picChg chg="add del mod">
          <ac:chgData name="Ito Koichi" userId="7c59a57e28e385d5" providerId="LiveId" clId="{7BE1A0C3-347C-9343-AD50-5497B70087AB}" dt="2022-02-02T01:15:49.422" v="3728" actId="1076"/>
          <ac:picMkLst>
            <pc:docMk/>
            <pc:sldMk cId="1750090798" sldId="286"/>
            <ac:picMk id="13" creationId="{937303B2-5AE1-B540-89D1-14CD3615A660}"/>
          </ac:picMkLst>
        </pc:picChg>
        <pc:picChg chg="add del mod">
          <ac:chgData name="Ito Koichi" userId="7c59a57e28e385d5" providerId="LiveId" clId="{7BE1A0C3-347C-9343-AD50-5497B70087AB}" dt="2022-02-02T01:14:23.039" v="3708" actId="931"/>
          <ac:picMkLst>
            <pc:docMk/>
            <pc:sldMk cId="1750090798" sldId="286"/>
            <ac:picMk id="15" creationId="{87D2E9CB-AD4E-C142-BDE6-E842540A2C56}"/>
          </ac:picMkLst>
        </pc:picChg>
        <pc:picChg chg="add mod">
          <ac:chgData name="Ito Koichi" userId="7c59a57e28e385d5" providerId="LiveId" clId="{7BE1A0C3-347C-9343-AD50-5497B70087AB}" dt="2022-02-02T01:15:07.420" v="3721" actId="1076"/>
          <ac:picMkLst>
            <pc:docMk/>
            <pc:sldMk cId="1750090798" sldId="286"/>
            <ac:picMk id="17" creationId="{02A611F8-4292-BA4B-8B08-2927A325C174}"/>
          </ac:picMkLst>
        </pc:picChg>
        <pc:picChg chg="add mod">
          <ac:chgData name="Ito Koichi" userId="7c59a57e28e385d5" providerId="LiveId" clId="{7BE1A0C3-347C-9343-AD50-5497B70087AB}" dt="2022-02-02T01:15:07.420" v="3721" actId="1076"/>
          <ac:picMkLst>
            <pc:docMk/>
            <pc:sldMk cId="1750090798" sldId="286"/>
            <ac:picMk id="19" creationId="{DB3C990B-B8F2-004C-BFED-40B0B0AB122E}"/>
          </ac:picMkLst>
        </pc:picChg>
      </pc:sldChg>
      <pc:sldChg chg="addSp delSp modSp add mod">
        <pc:chgData name="Ito Koichi" userId="7c59a57e28e385d5" providerId="LiveId" clId="{7BE1A0C3-347C-9343-AD50-5497B70087AB}" dt="2022-02-02T01:17:17.889" v="3748" actId="1076"/>
        <pc:sldMkLst>
          <pc:docMk/>
          <pc:sldMk cId="3338456390" sldId="287"/>
        </pc:sldMkLst>
        <pc:spChg chg="mod">
          <ac:chgData name="Ito Koichi" userId="7c59a57e28e385d5" providerId="LiveId" clId="{7BE1A0C3-347C-9343-AD50-5497B70087AB}" dt="2022-02-02T01:16:26.241" v="3737"/>
          <ac:spMkLst>
            <pc:docMk/>
            <pc:sldMk cId="3338456390" sldId="287"/>
            <ac:spMk id="10" creationId="{DDD61ABB-EBDC-FA49-AD27-5698C4A92B75}"/>
          </ac:spMkLst>
        </pc:spChg>
        <pc:spChg chg="del">
          <ac:chgData name="Ito Koichi" userId="7c59a57e28e385d5" providerId="LiveId" clId="{7BE1A0C3-347C-9343-AD50-5497B70087AB}" dt="2022-02-02T01:16:08.014" v="3730" actId="478"/>
          <ac:spMkLst>
            <pc:docMk/>
            <pc:sldMk cId="3338456390" sldId="287"/>
            <ac:spMk id="32" creationId="{D9C141CA-9F8C-AE41-B7B8-58A80B492D23}"/>
          </ac:spMkLst>
        </pc:spChg>
        <pc:picChg chg="add mod">
          <ac:chgData name="Ito Koichi" userId="7c59a57e28e385d5" providerId="LiveId" clId="{7BE1A0C3-347C-9343-AD50-5497B70087AB}" dt="2022-02-02T01:16:50.040" v="3742" actId="1076"/>
          <ac:picMkLst>
            <pc:docMk/>
            <pc:sldMk cId="3338456390" sldId="287"/>
            <ac:picMk id="6" creationId="{32A9E99F-C52D-2947-833A-651D1C84416C}"/>
          </ac:picMkLst>
        </pc:picChg>
        <pc:picChg chg="del mod">
          <ac:chgData name="Ito Koichi" userId="7c59a57e28e385d5" providerId="LiveId" clId="{7BE1A0C3-347C-9343-AD50-5497B70087AB}" dt="2022-02-02T01:17:09.091" v="3747" actId="478"/>
          <ac:picMkLst>
            <pc:docMk/>
            <pc:sldMk cId="3338456390" sldId="287"/>
            <ac:picMk id="8" creationId="{AED3D7F2-1427-F44D-AEE1-ACCEB20F2AD3}"/>
          </ac:picMkLst>
        </pc:picChg>
        <pc:picChg chg="add mod">
          <ac:chgData name="Ito Koichi" userId="7c59a57e28e385d5" providerId="LiveId" clId="{7BE1A0C3-347C-9343-AD50-5497B70087AB}" dt="2022-02-02T01:17:17.889" v="3748" actId="1076"/>
          <ac:picMkLst>
            <pc:docMk/>
            <pc:sldMk cId="3338456390" sldId="287"/>
            <ac:picMk id="9" creationId="{D8DE2264-331A-014E-A9B5-36BF2F5A661A}"/>
          </ac:picMkLst>
        </pc:picChg>
        <pc:picChg chg="del">
          <ac:chgData name="Ito Koichi" userId="7c59a57e28e385d5" providerId="LiveId" clId="{7BE1A0C3-347C-9343-AD50-5497B70087AB}" dt="2022-02-02T01:16:09.881" v="3732" actId="478"/>
          <ac:picMkLst>
            <pc:docMk/>
            <pc:sldMk cId="3338456390" sldId="287"/>
            <ac:picMk id="13" creationId="{937303B2-5AE1-B540-89D1-14CD3615A660}"/>
          </ac:picMkLst>
        </pc:picChg>
        <pc:picChg chg="del mod">
          <ac:chgData name="Ito Koichi" userId="7c59a57e28e385d5" providerId="LiveId" clId="{7BE1A0C3-347C-9343-AD50-5497B70087AB}" dt="2022-02-02T01:16:32.452" v="3738" actId="478"/>
          <ac:picMkLst>
            <pc:docMk/>
            <pc:sldMk cId="3338456390" sldId="287"/>
            <ac:picMk id="17" creationId="{02A611F8-4292-BA4B-8B08-2927A325C174}"/>
          </ac:picMkLst>
        </pc:picChg>
        <pc:picChg chg="del">
          <ac:chgData name="Ito Koichi" userId="7c59a57e28e385d5" providerId="LiveId" clId="{7BE1A0C3-347C-9343-AD50-5497B70087AB}" dt="2022-02-02T01:16:08.950" v="3731" actId="478"/>
          <ac:picMkLst>
            <pc:docMk/>
            <pc:sldMk cId="3338456390" sldId="287"/>
            <ac:picMk id="19" creationId="{DB3C990B-B8F2-004C-BFED-40B0B0AB122E}"/>
          </ac:picMkLst>
        </pc:picChg>
        <pc:cxnChg chg="del">
          <ac:chgData name="Ito Koichi" userId="7c59a57e28e385d5" providerId="LiveId" clId="{7BE1A0C3-347C-9343-AD50-5497B70087AB}" dt="2022-02-02T01:16:11.476" v="3733" actId="478"/>
          <ac:cxnSpMkLst>
            <pc:docMk/>
            <pc:sldMk cId="3338456390" sldId="287"/>
            <ac:cxnSpMk id="27" creationId="{3F56727B-45E8-4E49-B025-495D6EF252EC}"/>
          </ac:cxnSpMkLst>
        </pc:cxnChg>
      </pc:sldChg>
      <pc:sldChg chg="modSp add">
        <pc:chgData name="Ito Koichi" userId="7c59a57e28e385d5" providerId="LiveId" clId="{7BE1A0C3-347C-9343-AD50-5497B70087AB}" dt="2022-02-02T01:35:11.323" v="3750"/>
        <pc:sldMkLst>
          <pc:docMk/>
          <pc:sldMk cId="622223919" sldId="288"/>
        </pc:sldMkLst>
        <pc:spChg chg="mod">
          <ac:chgData name="Ito Koichi" userId="7c59a57e28e385d5" providerId="LiveId" clId="{7BE1A0C3-347C-9343-AD50-5497B70087AB}" dt="2022-02-02T01:35:11.323" v="3750"/>
          <ac:spMkLst>
            <pc:docMk/>
            <pc:sldMk cId="622223919" sldId="288"/>
            <ac:spMk id="2" creationId="{500B4985-5844-4EB1-9DE5-6177B9061EB1}"/>
          </ac:spMkLst>
        </pc:spChg>
      </pc:sldChg>
      <pc:sldChg chg="addSp delSp modSp new mod">
        <pc:chgData name="Ito Koichi" userId="7c59a57e28e385d5" providerId="LiveId" clId="{7BE1A0C3-347C-9343-AD50-5497B70087AB}" dt="2022-02-02T01:53:02.839" v="3819" actId="404"/>
        <pc:sldMkLst>
          <pc:docMk/>
          <pc:sldMk cId="135186025" sldId="289"/>
        </pc:sldMkLst>
        <pc:spChg chg="mod">
          <ac:chgData name="Ito Koichi" userId="7c59a57e28e385d5" providerId="LiveId" clId="{7BE1A0C3-347C-9343-AD50-5497B70087AB}" dt="2022-02-02T01:53:02.839" v="3819" actId="404"/>
          <ac:spMkLst>
            <pc:docMk/>
            <pc:sldMk cId="135186025" sldId="289"/>
            <ac:spMk id="2" creationId="{18C0CF12-81D5-0D4F-A24F-3BAC5546F0A4}"/>
          </ac:spMkLst>
        </pc:spChg>
        <pc:spChg chg="mod">
          <ac:chgData name="Ito Koichi" userId="7c59a57e28e385d5" providerId="LiveId" clId="{7BE1A0C3-347C-9343-AD50-5497B70087AB}" dt="2022-02-02T01:52:06.742" v="3800" actId="242"/>
          <ac:spMkLst>
            <pc:docMk/>
            <pc:sldMk cId="135186025" sldId="289"/>
            <ac:spMk id="3" creationId="{A2915D3D-5F82-804E-84E4-2931F4DD9DE1}"/>
          </ac:spMkLst>
        </pc:spChg>
        <pc:spChg chg="mod">
          <ac:chgData name="Ito Koichi" userId="7c59a57e28e385d5" providerId="LiveId" clId="{7BE1A0C3-347C-9343-AD50-5497B70087AB}" dt="2022-02-02T01:38:22.779" v="3771" actId="20577"/>
          <ac:spMkLst>
            <pc:docMk/>
            <pc:sldMk cId="135186025" sldId="289"/>
            <ac:spMk id="5" creationId="{555604FE-141D-6645-AB98-E5D4D3C90856}"/>
          </ac:spMkLst>
        </pc:spChg>
        <pc:spChg chg="add del">
          <ac:chgData name="Ito Koichi" userId="7c59a57e28e385d5" providerId="LiveId" clId="{7BE1A0C3-347C-9343-AD50-5497B70087AB}" dt="2022-02-02T01:37:44.718" v="3764" actId="22"/>
          <ac:spMkLst>
            <pc:docMk/>
            <pc:sldMk cId="135186025" sldId="289"/>
            <ac:spMk id="7" creationId="{502BB44B-7F2A-9441-8CFE-D91D0029BA74}"/>
          </ac:spMkLst>
        </pc:spChg>
      </pc:sldChg>
      <pc:sldChg chg="modSp add mod">
        <pc:chgData name="Ito Koichi" userId="7c59a57e28e385d5" providerId="LiveId" clId="{7BE1A0C3-347C-9343-AD50-5497B70087AB}" dt="2022-02-02T01:52:48.562" v="3813" actId="20577"/>
        <pc:sldMkLst>
          <pc:docMk/>
          <pc:sldMk cId="554892308" sldId="290"/>
        </pc:sldMkLst>
        <pc:spChg chg="mod">
          <ac:chgData name="Ito Koichi" userId="7c59a57e28e385d5" providerId="LiveId" clId="{7BE1A0C3-347C-9343-AD50-5497B70087AB}" dt="2022-02-02T01:52:48.562" v="3813" actId="20577"/>
          <ac:spMkLst>
            <pc:docMk/>
            <pc:sldMk cId="554892308" sldId="290"/>
            <ac:spMk id="2" creationId="{E01226A3-FD12-4BA7-ABF5-9D408688073E}"/>
          </ac:spMkLst>
        </pc:spChg>
      </pc:sldChg>
      <pc:sldChg chg="add del">
        <pc:chgData name="Ito Koichi" userId="7c59a57e28e385d5" providerId="LiveId" clId="{7BE1A0C3-347C-9343-AD50-5497B70087AB}" dt="2022-02-02T01:38:09.446" v="3766"/>
        <pc:sldMkLst>
          <pc:docMk/>
          <pc:sldMk cId="1232713700" sldId="290"/>
        </pc:sldMkLst>
      </pc:sldChg>
      <pc:sldChg chg="add del">
        <pc:chgData name="Ito Koichi" userId="7c59a57e28e385d5" providerId="LiveId" clId="{7BE1A0C3-347C-9343-AD50-5497B70087AB}" dt="2022-02-02T01:35:27.567" v="3755"/>
        <pc:sldMkLst>
          <pc:docMk/>
          <pc:sldMk cId="3761085717" sldId="290"/>
        </pc:sldMkLst>
      </pc:sldChg>
      <pc:sldChg chg="addSp delSp modSp add mod">
        <pc:chgData name="Ito Koichi" userId="7c59a57e28e385d5" providerId="LiveId" clId="{7BE1A0C3-347C-9343-AD50-5497B70087AB}" dt="2022-02-02T04:38:48.253" v="4661" actId="1076"/>
        <pc:sldMkLst>
          <pc:docMk/>
          <pc:sldMk cId="3274050655" sldId="291"/>
        </pc:sldMkLst>
        <pc:spChg chg="mod">
          <ac:chgData name="Ito Koichi" userId="7c59a57e28e385d5" providerId="LiveId" clId="{7BE1A0C3-347C-9343-AD50-5497B70087AB}" dt="2022-02-02T01:53:29.441" v="3839" actId="20577"/>
          <ac:spMkLst>
            <pc:docMk/>
            <pc:sldMk cId="3274050655" sldId="291"/>
            <ac:spMk id="2" creationId="{18C0CF12-81D5-0D4F-A24F-3BAC5546F0A4}"/>
          </ac:spMkLst>
        </pc:spChg>
        <pc:spChg chg="del mod">
          <ac:chgData name="Ito Koichi" userId="7c59a57e28e385d5" providerId="LiveId" clId="{7BE1A0C3-347C-9343-AD50-5497B70087AB}" dt="2022-02-02T02:09:13.837" v="3841" actId="478"/>
          <ac:spMkLst>
            <pc:docMk/>
            <pc:sldMk cId="3274050655" sldId="291"/>
            <ac:spMk id="3" creationId="{A2915D3D-5F82-804E-84E4-2931F4DD9DE1}"/>
          </ac:spMkLst>
        </pc:spChg>
        <pc:spChg chg="add mod">
          <ac:chgData name="Ito Koichi" userId="7c59a57e28e385d5" providerId="LiveId" clId="{7BE1A0C3-347C-9343-AD50-5497B70087AB}" dt="2022-02-02T04:38:48.253" v="4661" actId="1076"/>
          <ac:spMkLst>
            <pc:docMk/>
            <pc:sldMk cId="3274050655" sldId="291"/>
            <ac:spMk id="8" creationId="{4B1785D1-25D9-8245-9DA8-B3BA978307CE}"/>
          </ac:spMkLst>
        </pc:spChg>
        <pc:picChg chg="add mod">
          <ac:chgData name="Ito Koichi" userId="7c59a57e28e385d5" providerId="LiveId" clId="{7BE1A0C3-347C-9343-AD50-5497B70087AB}" dt="2022-02-02T02:09:58.311" v="3847" actId="1076"/>
          <ac:picMkLst>
            <pc:docMk/>
            <pc:sldMk cId="3274050655" sldId="291"/>
            <ac:picMk id="7" creationId="{12C57E33-EEC0-134A-B946-648A5E294B3C}"/>
          </ac:picMkLst>
        </pc:picChg>
      </pc:sldChg>
      <pc:sldChg chg="addSp delSp modSp add mod">
        <pc:chgData name="Ito Koichi" userId="7c59a57e28e385d5" providerId="LiveId" clId="{7BE1A0C3-347C-9343-AD50-5497B70087AB}" dt="2022-02-02T02:22:31.140" v="4016" actId="1076"/>
        <pc:sldMkLst>
          <pc:docMk/>
          <pc:sldMk cId="3240112873" sldId="292"/>
        </pc:sldMkLst>
        <pc:spChg chg="mod">
          <ac:chgData name="Ito Koichi" userId="7c59a57e28e385d5" providerId="LiveId" clId="{7BE1A0C3-347C-9343-AD50-5497B70087AB}" dt="2022-02-02T02:19:35.003" v="3908" actId="1076"/>
          <ac:spMkLst>
            <pc:docMk/>
            <pc:sldMk cId="3240112873" sldId="292"/>
            <ac:spMk id="8" creationId="{4B1785D1-25D9-8245-9DA8-B3BA978307CE}"/>
          </ac:spMkLst>
        </pc:spChg>
        <pc:spChg chg="add mod">
          <ac:chgData name="Ito Koichi" userId="7c59a57e28e385d5" providerId="LiveId" clId="{7BE1A0C3-347C-9343-AD50-5497B70087AB}" dt="2022-02-02T02:21:58.991" v="3997" actId="1076"/>
          <ac:spMkLst>
            <pc:docMk/>
            <pc:sldMk cId="3240112873" sldId="292"/>
            <ac:spMk id="18" creationId="{D879A2B5-BC95-2241-8DB6-026988020C38}"/>
          </ac:spMkLst>
        </pc:spChg>
        <pc:spChg chg="add del mod">
          <ac:chgData name="Ito Koichi" userId="7c59a57e28e385d5" providerId="LiveId" clId="{7BE1A0C3-347C-9343-AD50-5497B70087AB}" dt="2022-02-02T02:22:02.173" v="3999"/>
          <ac:spMkLst>
            <pc:docMk/>
            <pc:sldMk cId="3240112873" sldId="292"/>
            <ac:spMk id="19" creationId="{B3F6C118-F37F-F540-9CA6-8ED5EC2C195C}"/>
          </ac:spMkLst>
        </pc:spChg>
        <pc:spChg chg="add mod">
          <ac:chgData name="Ito Koichi" userId="7c59a57e28e385d5" providerId="LiveId" clId="{7BE1A0C3-347C-9343-AD50-5497B70087AB}" dt="2022-02-02T02:22:31.140" v="4016" actId="1076"/>
          <ac:spMkLst>
            <pc:docMk/>
            <pc:sldMk cId="3240112873" sldId="292"/>
            <ac:spMk id="20" creationId="{4CE8987E-CB50-E040-9A29-96A5CDDC05A5}"/>
          </ac:spMkLst>
        </pc:spChg>
        <pc:picChg chg="add del mod">
          <ac:chgData name="Ito Koichi" userId="7c59a57e28e385d5" providerId="LiveId" clId="{7BE1A0C3-347C-9343-AD50-5497B70087AB}" dt="2022-02-02T02:19:54.025" v="3919" actId="1076"/>
          <ac:picMkLst>
            <pc:docMk/>
            <pc:sldMk cId="3240112873" sldId="292"/>
            <ac:picMk id="6" creationId="{3FEE6BFA-BA56-2247-A852-8F6CDA666AE2}"/>
          </ac:picMkLst>
        </pc:picChg>
        <pc:picChg chg="add del">
          <ac:chgData name="Ito Koichi" userId="7c59a57e28e385d5" providerId="LiveId" clId="{7BE1A0C3-347C-9343-AD50-5497B70087AB}" dt="2022-02-02T02:19:49.750" v="3918" actId="478"/>
          <ac:picMkLst>
            <pc:docMk/>
            <pc:sldMk cId="3240112873" sldId="292"/>
            <ac:picMk id="7" creationId="{12C57E33-EEC0-134A-B946-648A5E294B3C}"/>
          </ac:picMkLst>
        </pc:picChg>
        <pc:cxnChg chg="add del">
          <ac:chgData name="Ito Koichi" userId="7c59a57e28e385d5" providerId="LiveId" clId="{7BE1A0C3-347C-9343-AD50-5497B70087AB}" dt="2022-02-02T02:19:10.519" v="3901" actId="11529"/>
          <ac:cxnSpMkLst>
            <pc:docMk/>
            <pc:sldMk cId="3240112873" sldId="292"/>
            <ac:cxnSpMk id="10" creationId="{83C9C11B-7B34-8049-A803-8F07042CF75C}"/>
          </ac:cxnSpMkLst>
        </pc:cxnChg>
        <pc:cxnChg chg="add del mod">
          <ac:chgData name="Ito Koichi" userId="7c59a57e28e385d5" providerId="LiveId" clId="{7BE1A0C3-347C-9343-AD50-5497B70087AB}" dt="2022-02-02T02:19:43.967" v="3912" actId="11529"/>
          <ac:cxnSpMkLst>
            <pc:docMk/>
            <pc:sldMk cId="3240112873" sldId="292"/>
            <ac:cxnSpMk id="12" creationId="{2CE18977-4073-C542-8D48-12E1178845E8}"/>
          </ac:cxnSpMkLst>
        </pc:cxnChg>
        <pc:cxnChg chg="add mod">
          <ac:chgData name="Ito Koichi" userId="7c59a57e28e385d5" providerId="LiveId" clId="{7BE1A0C3-347C-9343-AD50-5497B70087AB}" dt="2022-02-02T02:20:56.042" v="3928" actId="1076"/>
          <ac:cxnSpMkLst>
            <pc:docMk/>
            <pc:sldMk cId="3240112873" sldId="292"/>
            <ac:cxnSpMk id="15" creationId="{3DE7E802-A695-A14B-A652-CF1F650CE83F}"/>
          </ac:cxnSpMkLst>
        </pc:cxnChg>
      </pc:sldChg>
      <pc:sldChg chg="addSp delSp modSp add mod ord">
        <pc:chgData name="Ito Koichi" userId="7c59a57e28e385d5" providerId="LiveId" clId="{7BE1A0C3-347C-9343-AD50-5497B70087AB}" dt="2022-02-02T03:11:49.406" v="4635"/>
        <pc:sldMkLst>
          <pc:docMk/>
          <pc:sldMk cId="1719800161" sldId="293"/>
        </pc:sldMkLst>
        <pc:spChg chg="add del mod">
          <ac:chgData name="Ito Koichi" userId="7c59a57e28e385d5" providerId="LiveId" clId="{7BE1A0C3-347C-9343-AD50-5497B70087AB}" dt="2022-02-02T02:31:17.074" v="4024" actId="478"/>
          <ac:spMkLst>
            <pc:docMk/>
            <pc:sldMk cId="1719800161" sldId="293"/>
            <ac:spMk id="3" creationId="{E2094E98-A838-C549-9AA5-580CFB2448A4}"/>
          </ac:spMkLst>
        </pc:spChg>
        <pc:spChg chg="del">
          <ac:chgData name="Ito Koichi" userId="7c59a57e28e385d5" providerId="LiveId" clId="{7BE1A0C3-347C-9343-AD50-5497B70087AB}" dt="2022-02-02T02:29:08.739" v="4019" actId="478"/>
          <ac:spMkLst>
            <pc:docMk/>
            <pc:sldMk cId="1719800161" sldId="293"/>
            <ac:spMk id="8" creationId="{4B1785D1-25D9-8245-9DA8-B3BA978307CE}"/>
          </ac:spMkLst>
        </pc:spChg>
        <pc:spChg chg="add mod">
          <ac:chgData name="Ito Koichi" userId="7c59a57e28e385d5" providerId="LiveId" clId="{7BE1A0C3-347C-9343-AD50-5497B70087AB}" dt="2022-02-02T02:55:24.690" v="4597" actId="20577"/>
          <ac:spMkLst>
            <pc:docMk/>
            <pc:sldMk cId="1719800161" sldId="293"/>
            <ac:spMk id="11" creationId="{45A5DD93-A1AF-5746-972E-49A4319FA09D}"/>
          </ac:spMkLst>
        </pc:spChg>
        <pc:spChg chg="add mod">
          <ac:chgData name="Ito Koichi" userId="7c59a57e28e385d5" providerId="LiveId" clId="{7BE1A0C3-347C-9343-AD50-5497B70087AB}" dt="2022-02-02T02:55:20.274" v="4595" actId="20577"/>
          <ac:spMkLst>
            <pc:docMk/>
            <pc:sldMk cId="1719800161" sldId="293"/>
            <ac:spMk id="12" creationId="{5451D439-10BE-E943-865B-904BB9B0F698}"/>
          </ac:spMkLst>
        </pc:spChg>
        <pc:spChg chg="add mod">
          <ac:chgData name="Ito Koichi" userId="7c59a57e28e385d5" providerId="LiveId" clId="{7BE1A0C3-347C-9343-AD50-5497B70087AB}" dt="2022-02-02T02:53:39.968" v="4536" actId="207"/>
          <ac:spMkLst>
            <pc:docMk/>
            <pc:sldMk cId="1719800161" sldId="293"/>
            <ac:spMk id="13" creationId="{5DA73574-BA7B-F048-BB3C-79C26945A8BF}"/>
          </ac:spMkLst>
        </pc:spChg>
        <pc:spChg chg="add mod">
          <ac:chgData name="Ito Koichi" userId="7c59a57e28e385d5" providerId="LiveId" clId="{7BE1A0C3-347C-9343-AD50-5497B70087AB}" dt="2022-02-02T02:46:33.623" v="4352" actId="20577"/>
          <ac:spMkLst>
            <pc:docMk/>
            <pc:sldMk cId="1719800161" sldId="293"/>
            <ac:spMk id="14" creationId="{3D186C8D-CD10-3040-94FB-61A3FEB9D4D8}"/>
          </ac:spMkLst>
        </pc:spChg>
        <pc:spChg chg="add mod">
          <ac:chgData name="Ito Koichi" userId="7c59a57e28e385d5" providerId="LiveId" clId="{7BE1A0C3-347C-9343-AD50-5497B70087AB}" dt="2022-02-02T02:47:40.880" v="4427" actId="20577"/>
          <ac:spMkLst>
            <pc:docMk/>
            <pc:sldMk cId="1719800161" sldId="293"/>
            <ac:spMk id="16" creationId="{C07AE6E9-06D3-FB43-A5BA-69474ABEA7D5}"/>
          </ac:spMkLst>
        </pc:spChg>
        <pc:spChg chg="add mod">
          <ac:chgData name="Ito Koichi" userId="7c59a57e28e385d5" providerId="LiveId" clId="{7BE1A0C3-347C-9343-AD50-5497B70087AB}" dt="2022-02-02T02:48:32.961" v="4506" actId="20577"/>
          <ac:spMkLst>
            <pc:docMk/>
            <pc:sldMk cId="1719800161" sldId="293"/>
            <ac:spMk id="17" creationId="{164963EE-BED6-0F47-BE8C-CF7269D56B40}"/>
          </ac:spMkLst>
        </pc:spChg>
        <pc:spChg chg="del">
          <ac:chgData name="Ito Koichi" userId="7c59a57e28e385d5" providerId="LiveId" clId="{7BE1A0C3-347C-9343-AD50-5497B70087AB}" dt="2022-02-02T02:29:08.739" v="4019" actId="478"/>
          <ac:spMkLst>
            <pc:docMk/>
            <pc:sldMk cId="1719800161" sldId="293"/>
            <ac:spMk id="18" creationId="{D879A2B5-BC95-2241-8DB6-026988020C38}"/>
          </ac:spMkLst>
        </pc:spChg>
        <pc:spChg chg="del">
          <ac:chgData name="Ito Koichi" userId="7c59a57e28e385d5" providerId="LiveId" clId="{7BE1A0C3-347C-9343-AD50-5497B70087AB}" dt="2022-02-02T02:29:08.739" v="4019" actId="478"/>
          <ac:spMkLst>
            <pc:docMk/>
            <pc:sldMk cId="1719800161" sldId="293"/>
            <ac:spMk id="20" creationId="{4CE8987E-CB50-E040-9A29-96A5CDDC05A5}"/>
          </ac:spMkLst>
        </pc:spChg>
        <pc:spChg chg="add mod">
          <ac:chgData name="Ito Koichi" userId="7c59a57e28e385d5" providerId="LiveId" clId="{7BE1A0C3-347C-9343-AD50-5497B70087AB}" dt="2022-02-02T02:55:03.227" v="4582" actId="1076"/>
          <ac:spMkLst>
            <pc:docMk/>
            <pc:sldMk cId="1719800161" sldId="293"/>
            <ac:spMk id="23" creationId="{A120109A-1F0C-E547-A644-2A36EDBCAD14}"/>
          </ac:spMkLst>
        </pc:spChg>
        <pc:picChg chg="del">
          <ac:chgData name="Ito Koichi" userId="7c59a57e28e385d5" providerId="LiveId" clId="{7BE1A0C3-347C-9343-AD50-5497B70087AB}" dt="2022-02-02T02:29:02.109" v="4018" actId="478"/>
          <ac:picMkLst>
            <pc:docMk/>
            <pc:sldMk cId="1719800161" sldId="293"/>
            <ac:picMk id="6" creationId="{3FEE6BFA-BA56-2247-A852-8F6CDA666AE2}"/>
          </ac:picMkLst>
        </pc:picChg>
        <pc:picChg chg="add mod">
          <ac:chgData name="Ito Koichi" userId="7c59a57e28e385d5" providerId="LiveId" clId="{7BE1A0C3-347C-9343-AD50-5497B70087AB}" dt="2022-02-02T02:49:33.766" v="4518" actId="1076"/>
          <ac:picMkLst>
            <pc:docMk/>
            <pc:sldMk cId="1719800161" sldId="293"/>
            <ac:picMk id="9" creationId="{43768524-9239-FF48-9611-C42710CC8FD7}"/>
          </ac:picMkLst>
        </pc:picChg>
        <pc:picChg chg="add mod">
          <ac:chgData name="Ito Koichi" userId="7c59a57e28e385d5" providerId="LiveId" clId="{7BE1A0C3-347C-9343-AD50-5497B70087AB}" dt="2022-02-02T02:49:58.162" v="4524" actId="1076"/>
          <ac:picMkLst>
            <pc:docMk/>
            <pc:sldMk cId="1719800161" sldId="293"/>
            <ac:picMk id="19" creationId="{054B1CEE-4795-7341-89AE-A53424929FAC}"/>
          </ac:picMkLst>
        </pc:picChg>
        <pc:picChg chg="add mod">
          <ac:chgData name="Ito Koichi" userId="7c59a57e28e385d5" providerId="LiveId" clId="{7BE1A0C3-347C-9343-AD50-5497B70087AB}" dt="2022-02-02T02:55:10.997" v="4583" actId="1076"/>
          <ac:picMkLst>
            <pc:docMk/>
            <pc:sldMk cId="1719800161" sldId="293"/>
            <ac:picMk id="22" creationId="{549DB525-90E9-C743-BF3F-84A6449C277D}"/>
          </ac:picMkLst>
        </pc:picChg>
        <pc:picChg chg="add mod">
          <ac:chgData name="Ito Koichi" userId="7c59a57e28e385d5" providerId="LiveId" clId="{7BE1A0C3-347C-9343-AD50-5497B70087AB}" dt="2022-02-02T02:56:50.345" v="4603" actId="1076"/>
          <ac:picMkLst>
            <pc:docMk/>
            <pc:sldMk cId="1719800161" sldId="293"/>
            <ac:picMk id="25" creationId="{ABEA64FF-1E14-DD46-B894-4F6B56F9BBC2}"/>
          </ac:picMkLst>
        </pc:picChg>
        <pc:picChg chg="add mod">
          <ac:chgData name="Ito Koichi" userId="7c59a57e28e385d5" providerId="LiveId" clId="{7BE1A0C3-347C-9343-AD50-5497B70087AB}" dt="2022-02-02T02:58:28.829" v="4609" actId="1076"/>
          <ac:picMkLst>
            <pc:docMk/>
            <pc:sldMk cId="1719800161" sldId="293"/>
            <ac:picMk id="27" creationId="{F309D655-1F27-F840-B8FE-9BE6D9161EA4}"/>
          </ac:picMkLst>
        </pc:picChg>
        <pc:picChg chg="add mod">
          <ac:chgData name="Ito Koichi" userId="7c59a57e28e385d5" providerId="LiveId" clId="{7BE1A0C3-347C-9343-AD50-5497B70087AB}" dt="2022-02-02T02:59:53.596" v="4616" actId="1076"/>
          <ac:picMkLst>
            <pc:docMk/>
            <pc:sldMk cId="1719800161" sldId="293"/>
            <ac:picMk id="29" creationId="{88BF7E4B-A168-1C41-A6C4-F09759E8E0E1}"/>
          </ac:picMkLst>
        </pc:picChg>
        <pc:cxnChg chg="del">
          <ac:chgData name="Ito Koichi" userId="7c59a57e28e385d5" providerId="LiveId" clId="{7BE1A0C3-347C-9343-AD50-5497B70087AB}" dt="2022-02-02T02:29:09.860" v="4020" actId="478"/>
          <ac:cxnSpMkLst>
            <pc:docMk/>
            <pc:sldMk cId="1719800161" sldId="293"/>
            <ac:cxnSpMk id="15" creationId="{3DE7E802-A695-A14B-A652-CF1F650CE83F}"/>
          </ac:cxnSpMkLst>
        </pc:cxnChg>
        <pc:cxnChg chg="add mod">
          <ac:chgData name="Ito Koichi" userId="7c59a57e28e385d5" providerId="LiveId" clId="{7BE1A0C3-347C-9343-AD50-5497B70087AB}" dt="2022-02-02T03:11:49.406" v="4635"/>
          <ac:cxnSpMkLst>
            <pc:docMk/>
            <pc:sldMk cId="1719800161" sldId="293"/>
            <ac:cxnSpMk id="30" creationId="{1BD2AD53-D1C3-B046-BC21-59AD5A048F72}"/>
          </ac:cxnSpMkLst>
        </pc:cxnChg>
        <pc:cxnChg chg="add mod">
          <ac:chgData name="Ito Koichi" userId="7c59a57e28e385d5" providerId="LiveId" clId="{7BE1A0C3-347C-9343-AD50-5497B70087AB}" dt="2022-02-02T03:11:49.406" v="4635"/>
          <ac:cxnSpMkLst>
            <pc:docMk/>
            <pc:sldMk cId="1719800161" sldId="293"/>
            <ac:cxnSpMk id="31" creationId="{C3827F51-8158-8D42-8137-D83B270BBFB8}"/>
          </ac:cxnSpMkLst>
        </pc:cxnChg>
        <pc:cxnChg chg="add mod">
          <ac:chgData name="Ito Koichi" userId="7c59a57e28e385d5" providerId="LiveId" clId="{7BE1A0C3-347C-9343-AD50-5497B70087AB}" dt="2022-02-02T03:11:49.406" v="4635"/>
          <ac:cxnSpMkLst>
            <pc:docMk/>
            <pc:sldMk cId="1719800161" sldId="293"/>
            <ac:cxnSpMk id="32" creationId="{F9557B12-6DB7-CB40-82F4-26D300B0FD92}"/>
          </ac:cxnSpMkLst>
        </pc:cxnChg>
      </pc:sldChg>
      <pc:sldChg chg="addSp delSp modSp add mod">
        <pc:chgData name="Ito Koichi" userId="7c59a57e28e385d5" providerId="LiveId" clId="{7BE1A0C3-347C-9343-AD50-5497B70087AB}" dt="2022-02-02T04:41:30.816" v="4665" actId="20577"/>
        <pc:sldMkLst>
          <pc:docMk/>
          <pc:sldMk cId="3010995884" sldId="294"/>
        </pc:sldMkLst>
        <pc:spChg chg="del">
          <ac:chgData name="Ito Koichi" userId="7c59a57e28e385d5" providerId="LiveId" clId="{7BE1A0C3-347C-9343-AD50-5497B70087AB}" dt="2022-02-02T04:37:25.477" v="4636" actId="478"/>
          <ac:spMkLst>
            <pc:docMk/>
            <pc:sldMk cId="3010995884" sldId="294"/>
            <ac:spMk id="11" creationId="{45A5DD93-A1AF-5746-972E-49A4319FA09D}"/>
          </ac:spMkLst>
        </pc:spChg>
        <pc:spChg chg="del">
          <ac:chgData name="Ito Koichi" userId="7c59a57e28e385d5" providerId="LiveId" clId="{7BE1A0C3-347C-9343-AD50-5497B70087AB}" dt="2022-02-02T04:37:25.477" v="4636" actId="478"/>
          <ac:spMkLst>
            <pc:docMk/>
            <pc:sldMk cId="3010995884" sldId="294"/>
            <ac:spMk id="12" creationId="{5451D439-10BE-E943-865B-904BB9B0F698}"/>
          </ac:spMkLst>
        </pc:spChg>
        <pc:spChg chg="del">
          <ac:chgData name="Ito Koichi" userId="7c59a57e28e385d5" providerId="LiveId" clId="{7BE1A0C3-347C-9343-AD50-5497B70087AB}" dt="2022-02-02T04:37:25.477" v="4636" actId="478"/>
          <ac:spMkLst>
            <pc:docMk/>
            <pc:sldMk cId="3010995884" sldId="294"/>
            <ac:spMk id="13" creationId="{5DA73574-BA7B-F048-BB3C-79C26945A8BF}"/>
          </ac:spMkLst>
        </pc:spChg>
        <pc:spChg chg="del">
          <ac:chgData name="Ito Koichi" userId="7c59a57e28e385d5" providerId="LiveId" clId="{7BE1A0C3-347C-9343-AD50-5497B70087AB}" dt="2022-02-02T04:37:25.477" v="4636" actId="478"/>
          <ac:spMkLst>
            <pc:docMk/>
            <pc:sldMk cId="3010995884" sldId="294"/>
            <ac:spMk id="14" creationId="{3D186C8D-CD10-3040-94FB-61A3FEB9D4D8}"/>
          </ac:spMkLst>
        </pc:spChg>
        <pc:spChg chg="del">
          <ac:chgData name="Ito Koichi" userId="7c59a57e28e385d5" providerId="LiveId" clId="{7BE1A0C3-347C-9343-AD50-5497B70087AB}" dt="2022-02-02T04:37:25.477" v="4636" actId="478"/>
          <ac:spMkLst>
            <pc:docMk/>
            <pc:sldMk cId="3010995884" sldId="294"/>
            <ac:spMk id="16" creationId="{C07AE6E9-06D3-FB43-A5BA-69474ABEA7D5}"/>
          </ac:spMkLst>
        </pc:spChg>
        <pc:spChg chg="del">
          <ac:chgData name="Ito Koichi" userId="7c59a57e28e385d5" providerId="LiveId" clId="{7BE1A0C3-347C-9343-AD50-5497B70087AB}" dt="2022-02-02T04:37:25.477" v="4636" actId="478"/>
          <ac:spMkLst>
            <pc:docMk/>
            <pc:sldMk cId="3010995884" sldId="294"/>
            <ac:spMk id="17" creationId="{164963EE-BED6-0F47-BE8C-CF7269D56B40}"/>
          </ac:spMkLst>
        </pc:spChg>
        <pc:spChg chg="del">
          <ac:chgData name="Ito Koichi" userId="7c59a57e28e385d5" providerId="LiveId" clId="{7BE1A0C3-347C-9343-AD50-5497B70087AB}" dt="2022-02-02T04:37:25.477" v="4636" actId="478"/>
          <ac:spMkLst>
            <pc:docMk/>
            <pc:sldMk cId="3010995884" sldId="294"/>
            <ac:spMk id="23" creationId="{A120109A-1F0C-E547-A644-2A36EDBCAD14}"/>
          </ac:spMkLst>
        </pc:spChg>
        <pc:spChg chg="add mod">
          <ac:chgData name="Ito Koichi" userId="7c59a57e28e385d5" providerId="LiveId" clId="{7BE1A0C3-347C-9343-AD50-5497B70087AB}" dt="2022-02-02T04:41:30.816" v="4665" actId="20577"/>
          <ac:spMkLst>
            <pc:docMk/>
            <pc:sldMk cId="3010995884" sldId="294"/>
            <ac:spMk id="28" creationId="{6D4F0C8F-C955-1944-A577-D6DF9F25E179}"/>
          </ac:spMkLst>
        </pc:spChg>
        <pc:picChg chg="del">
          <ac:chgData name="Ito Koichi" userId="7c59a57e28e385d5" providerId="LiveId" clId="{7BE1A0C3-347C-9343-AD50-5497B70087AB}" dt="2022-02-02T04:37:25.477" v="4636" actId="478"/>
          <ac:picMkLst>
            <pc:docMk/>
            <pc:sldMk cId="3010995884" sldId="294"/>
            <ac:picMk id="9" creationId="{43768524-9239-FF48-9611-C42710CC8FD7}"/>
          </ac:picMkLst>
        </pc:picChg>
        <pc:picChg chg="add mod">
          <ac:chgData name="Ito Koichi" userId="7c59a57e28e385d5" providerId="LiveId" clId="{7BE1A0C3-347C-9343-AD50-5497B70087AB}" dt="2022-02-02T04:38:27.686" v="4642" actId="1076"/>
          <ac:picMkLst>
            <pc:docMk/>
            <pc:sldMk cId="3010995884" sldId="294"/>
            <ac:picMk id="10" creationId="{46B4D6BB-084C-274D-8535-DBA6BE0DB789}"/>
          </ac:picMkLst>
        </pc:picChg>
        <pc:picChg chg="del">
          <ac:chgData name="Ito Koichi" userId="7c59a57e28e385d5" providerId="LiveId" clId="{7BE1A0C3-347C-9343-AD50-5497B70087AB}" dt="2022-02-02T04:37:25.477" v="4636" actId="478"/>
          <ac:picMkLst>
            <pc:docMk/>
            <pc:sldMk cId="3010995884" sldId="294"/>
            <ac:picMk id="19" creationId="{054B1CEE-4795-7341-89AE-A53424929FAC}"/>
          </ac:picMkLst>
        </pc:picChg>
        <pc:picChg chg="del">
          <ac:chgData name="Ito Koichi" userId="7c59a57e28e385d5" providerId="LiveId" clId="{7BE1A0C3-347C-9343-AD50-5497B70087AB}" dt="2022-02-02T04:37:25.477" v="4636" actId="478"/>
          <ac:picMkLst>
            <pc:docMk/>
            <pc:sldMk cId="3010995884" sldId="294"/>
            <ac:picMk id="22" creationId="{549DB525-90E9-C743-BF3F-84A6449C277D}"/>
          </ac:picMkLst>
        </pc:picChg>
        <pc:picChg chg="del">
          <ac:chgData name="Ito Koichi" userId="7c59a57e28e385d5" providerId="LiveId" clId="{7BE1A0C3-347C-9343-AD50-5497B70087AB}" dt="2022-02-02T04:37:25.477" v="4636" actId="478"/>
          <ac:picMkLst>
            <pc:docMk/>
            <pc:sldMk cId="3010995884" sldId="294"/>
            <ac:picMk id="25" creationId="{ABEA64FF-1E14-DD46-B894-4F6B56F9BBC2}"/>
          </ac:picMkLst>
        </pc:picChg>
        <pc:picChg chg="del">
          <ac:chgData name="Ito Koichi" userId="7c59a57e28e385d5" providerId="LiveId" clId="{7BE1A0C3-347C-9343-AD50-5497B70087AB}" dt="2022-02-02T04:37:25.477" v="4636" actId="478"/>
          <ac:picMkLst>
            <pc:docMk/>
            <pc:sldMk cId="3010995884" sldId="294"/>
            <ac:picMk id="27" creationId="{F309D655-1F27-F840-B8FE-9BE6D9161EA4}"/>
          </ac:picMkLst>
        </pc:picChg>
        <pc:picChg chg="del">
          <ac:chgData name="Ito Koichi" userId="7c59a57e28e385d5" providerId="LiveId" clId="{7BE1A0C3-347C-9343-AD50-5497B70087AB}" dt="2022-02-02T04:37:25.477" v="4636" actId="478"/>
          <ac:picMkLst>
            <pc:docMk/>
            <pc:sldMk cId="3010995884" sldId="294"/>
            <ac:picMk id="29" creationId="{88BF7E4B-A168-1C41-A6C4-F09759E8E0E1}"/>
          </ac:picMkLst>
        </pc:picChg>
        <pc:cxnChg chg="add del mod">
          <ac:chgData name="Ito Koichi" userId="7c59a57e28e385d5" providerId="LiveId" clId="{7BE1A0C3-347C-9343-AD50-5497B70087AB}" dt="2022-02-02T04:37:25.477" v="4636" actId="478"/>
          <ac:cxnSpMkLst>
            <pc:docMk/>
            <pc:sldMk cId="3010995884" sldId="294"/>
            <ac:cxnSpMk id="18" creationId="{CF00B7F1-0D79-2F46-A8DD-A129973E2340}"/>
          </ac:cxnSpMkLst>
        </pc:cxnChg>
        <pc:cxnChg chg="add del mod">
          <ac:chgData name="Ito Koichi" userId="7c59a57e28e385d5" providerId="LiveId" clId="{7BE1A0C3-347C-9343-AD50-5497B70087AB}" dt="2022-02-02T04:37:25.477" v="4636" actId="478"/>
          <ac:cxnSpMkLst>
            <pc:docMk/>
            <pc:sldMk cId="3010995884" sldId="294"/>
            <ac:cxnSpMk id="20" creationId="{7C17F821-DBC5-4848-A21C-F1D9769D6D4E}"/>
          </ac:cxnSpMkLst>
        </pc:cxnChg>
        <pc:cxnChg chg="add del mod">
          <ac:chgData name="Ito Koichi" userId="7c59a57e28e385d5" providerId="LiveId" clId="{7BE1A0C3-347C-9343-AD50-5497B70087AB}" dt="2022-02-02T03:10:10.679" v="4629"/>
          <ac:cxnSpMkLst>
            <pc:docMk/>
            <pc:sldMk cId="3010995884" sldId="294"/>
            <ac:cxnSpMk id="24" creationId="{ACED4199-3F86-9D41-A56E-EBBEF4CE91E4}"/>
          </ac:cxnSpMkLst>
        </pc:cxnChg>
        <pc:cxnChg chg="add del mod">
          <ac:chgData name="Ito Koichi" userId="7c59a57e28e385d5" providerId="LiveId" clId="{7BE1A0C3-347C-9343-AD50-5497B70087AB}" dt="2022-02-02T04:37:25.477" v="4636" actId="478"/>
          <ac:cxnSpMkLst>
            <pc:docMk/>
            <pc:sldMk cId="3010995884" sldId="294"/>
            <ac:cxnSpMk id="26" creationId="{3798A141-9AA8-7942-A474-794609AFC358}"/>
          </ac:cxnSpMkLst>
        </pc:cxnChg>
      </pc:sldChg>
      <pc:sldChg chg="addSp delSp modSp add mod">
        <pc:chgData name="Ito Koichi" userId="7c59a57e28e385d5" providerId="LiveId" clId="{7BE1A0C3-347C-9343-AD50-5497B70087AB}" dt="2022-02-02T05:20:07.424" v="4829" actId="1076"/>
        <pc:sldMkLst>
          <pc:docMk/>
          <pc:sldMk cId="793778490" sldId="295"/>
        </pc:sldMkLst>
        <pc:spChg chg="add mod">
          <ac:chgData name="Ito Koichi" userId="7c59a57e28e385d5" providerId="LiveId" clId="{7BE1A0C3-347C-9343-AD50-5497B70087AB}" dt="2022-02-02T05:08:54.642" v="4804" actId="20577"/>
          <ac:spMkLst>
            <pc:docMk/>
            <pc:sldMk cId="793778490" sldId="295"/>
            <ac:spMk id="7" creationId="{726EACEF-83EB-C249-AEE0-7E735D27208C}"/>
          </ac:spMkLst>
        </pc:spChg>
        <pc:spChg chg="add mod">
          <ac:chgData name="Ito Koichi" userId="7c59a57e28e385d5" providerId="LiveId" clId="{7BE1A0C3-347C-9343-AD50-5497B70087AB}" dt="2022-02-02T05:10:52.339" v="4810" actId="20577"/>
          <ac:spMkLst>
            <pc:docMk/>
            <pc:sldMk cId="793778490" sldId="295"/>
            <ac:spMk id="9" creationId="{11AE8FD6-28B8-E047-BDD4-CA697AEDA5F6}"/>
          </ac:spMkLst>
        </pc:spChg>
        <pc:spChg chg="del">
          <ac:chgData name="Ito Koichi" userId="7c59a57e28e385d5" providerId="LiveId" clId="{7BE1A0C3-347C-9343-AD50-5497B70087AB}" dt="2022-02-02T04:53:11.448" v="4667" actId="478"/>
          <ac:spMkLst>
            <pc:docMk/>
            <pc:sldMk cId="793778490" sldId="295"/>
            <ac:spMk id="28" creationId="{6D4F0C8F-C955-1944-A577-D6DF9F25E179}"/>
          </ac:spMkLst>
        </pc:spChg>
        <pc:picChg chg="add mod">
          <ac:chgData name="Ito Koichi" userId="7c59a57e28e385d5" providerId="LiveId" clId="{7BE1A0C3-347C-9343-AD50-5497B70087AB}" dt="2022-02-02T05:20:07.424" v="4829" actId="1076"/>
          <ac:picMkLst>
            <pc:docMk/>
            <pc:sldMk cId="793778490" sldId="295"/>
            <ac:picMk id="6" creationId="{DB6DBBCE-22AE-E542-8844-AB48F83384E4}"/>
          </ac:picMkLst>
        </pc:picChg>
        <pc:picChg chg="del">
          <ac:chgData name="Ito Koichi" userId="7c59a57e28e385d5" providerId="LiveId" clId="{7BE1A0C3-347C-9343-AD50-5497B70087AB}" dt="2022-02-02T04:53:11.448" v="4667" actId="478"/>
          <ac:picMkLst>
            <pc:docMk/>
            <pc:sldMk cId="793778490" sldId="295"/>
            <ac:picMk id="10" creationId="{46B4D6BB-084C-274D-8535-DBA6BE0DB789}"/>
          </ac:picMkLst>
        </pc:picChg>
        <pc:picChg chg="add mod">
          <ac:chgData name="Ito Koichi" userId="7c59a57e28e385d5" providerId="LiveId" clId="{7BE1A0C3-347C-9343-AD50-5497B70087AB}" dt="2022-02-02T05:20:07.424" v="4829" actId="1076"/>
          <ac:picMkLst>
            <pc:docMk/>
            <pc:sldMk cId="793778490" sldId="295"/>
            <ac:picMk id="12" creationId="{A2D4085A-7F8A-984B-AE50-567037012888}"/>
          </ac:picMkLst>
        </pc:picChg>
        <pc:cxnChg chg="add mod">
          <ac:chgData name="Ito Koichi" userId="7c59a57e28e385d5" providerId="LiveId" clId="{7BE1A0C3-347C-9343-AD50-5497B70087AB}" dt="2022-02-02T04:53:46.254" v="4668"/>
          <ac:cxnSpMkLst>
            <pc:docMk/>
            <pc:sldMk cId="793778490" sldId="295"/>
            <ac:cxnSpMk id="8" creationId="{A58C18FD-2B03-F642-8729-838FF160FC40}"/>
          </ac:cxnSpMkLst>
        </pc:cxnChg>
      </pc:sldChg>
      <pc:sldChg chg="addSp delSp modSp add mod">
        <pc:chgData name="Ito Koichi" userId="7c59a57e28e385d5" providerId="LiveId" clId="{7BE1A0C3-347C-9343-AD50-5497B70087AB}" dt="2022-02-02T04:59:06.361" v="4773" actId="122"/>
        <pc:sldMkLst>
          <pc:docMk/>
          <pc:sldMk cId="3178002913" sldId="296"/>
        </pc:sldMkLst>
        <pc:spChg chg="add mod">
          <ac:chgData name="Ito Koichi" userId="7c59a57e28e385d5" providerId="LiveId" clId="{7BE1A0C3-347C-9343-AD50-5497B70087AB}" dt="2022-02-02T04:59:06.361" v="4773" actId="122"/>
          <ac:spMkLst>
            <pc:docMk/>
            <pc:sldMk cId="3178002913" sldId="296"/>
            <ac:spMk id="11" creationId="{EF263226-25B0-EA4D-82E2-964609E62687}"/>
          </ac:spMkLst>
        </pc:spChg>
        <pc:spChg chg="del">
          <ac:chgData name="Ito Koichi" userId="7c59a57e28e385d5" providerId="LiveId" clId="{7BE1A0C3-347C-9343-AD50-5497B70087AB}" dt="2022-02-02T04:54:02.250" v="4670" actId="478"/>
          <ac:spMkLst>
            <pc:docMk/>
            <pc:sldMk cId="3178002913" sldId="296"/>
            <ac:spMk id="28" creationId="{6D4F0C8F-C955-1944-A577-D6DF9F25E179}"/>
          </ac:spMkLst>
        </pc:spChg>
        <pc:picChg chg="add del mod">
          <ac:chgData name="Ito Koichi" userId="7c59a57e28e385d5" providerId="LiveId" clId="{7BE1A0C3-347C-9343-AD50-5497B70087AB}" dt="2022-02-02T04:54:23.515" v="4672" actId="478"/>
          <ac:picMkLst>
            <pc:docMk/>
            <pc:sldMk cId="3178002913" sldId="296"/>
            <ac:picMk id="6" creationId="{EF87BE54-DB73-0C4B-AA17-54CF7DB5B9B3}"/>
          </ac:picMkLst>
        </pc:picChg>
        <pc:picChg chg="add mod">
          <ac:chgData name="Ito Koichi" userId="7c59a57e28e385d5" providerId="LiveId" clId="{7BE1A0C3-347C-9343-AD50-5497B70087AB}" dt="2022-02-02T04:56:16.111" v="4679" actId="1076"/>
          <ac:picMkLst>
            <pc:docMk/>
            <pc:sldMk cId="3178002913" sldId="296"/>
            <ac:picMk id="8" creationId="{A238EC32-21BF-A746-BC30-55E23D067C3C}"/>
          </ac:picMkLst>
        </pc:picChg>
        <pc:picChg chg="del">
          <ac:chgData name="Ito Koichi" userId="7c59a57e28e385d5" providerId="LiveId" clId="{7BE1A0C3-347C-9343-AD50-5497B70087AB}" dt="2022-02-02T04:54:02.250" v="4670" actId="478"/>
          <ac:picMkLst>
            <pc:docMk/>
            <pc:sldMk cId="3178002913" sldId="296"/>
            <ac:picMk id="10" creationId="{46B4D6BB-084C-274D-8535-DBA6BE0DB789}"/>
          </ac:picMkLst>
        </pc:picChg>
      </pc:sldChg>
      <pc:sldChg chg="modSp add mod">
        <pc:chgData name="Ito Koichi" userId="7c59a57e28e385d5" providerId="LiveId" clId="{7BE1A0C3-347C-9343-AD50-5497B70087AB}" dt="2022-02-02T07:43:43.424" v="4835" actId="20577"/>
        <pc:sldMkLst>
          <pc:docMk/>
          <pc:sldMk cId="3044218326" sldId="297"/>
        </pc:sldMkLst>
        <pc:spChg chg="mod">
          <ac:chgData name="Ito Koichi" userId="7c59a57e28e385d5" providerId="LiveId" clId="{7BE1A0C3-347C-9343-AD50-5497B70087AB}" dt="2022-02-02T07:43:43.424" v="4835" actId="20577"/>
          <ac:spMkLst>
            <pc:docMk/>
            <pc:sldMk cId="3044218326" sldId="297"/>
            <ac:spMk id="2" creationId="{E01226A3-FD12-4BA7-ABF5-9D408688073E}"/>
          </ac:spMkLst>
        </pc:spChg>
      </pc:sldChg>
      <pc:sldChg chg="modSp add mod">
        <pc:chgData name="Ito Koichi" userId="7c59a57e28e385d5" providerId="LiveId" clId="{7BE1A0C3-347C-9343-AD50-5497B70087AB}" dt="2022-02-03T04:34:28.544" v="4912" actId="20577"/>
        <pc:sldMkLst>
          <pc:docMk/>
          <pc:sldMk cId="3283517966" sldId="298"/>
        </pc:sldMkLst>
        <pc:spChg chg="mod">
          <ac:chgData name="Ito Koichi" userId="7c59a57e28e385d5" providerId="LiveId" clId="{7BE1A0C3-347C-9343-AD50-5497B70087AB}" dt="2022-02-03T04:34:28.544" v="4912" actId="20577"/>
          <ac:spMkLst>
            <pc:docMk/>
            <pc:sldMk cId="3283517966" sldId="298"/>
            <ac:spMk id="11" creationId="{EF263226-25B0-EA4D-82E2-964609E62687}"/>
          </ac:spMkLst>
        </pc:spChg>
        <pc:picChg chg="mod">
          <ac:chgData name="Ito Koichi" userId="7c59a57e28e385d5" providerId="LiveId" clId="{7BE1A0C3-347C-9343-AD50-5497B70087AB}" dt="2022-02-02T08:04:58.139" v="4843" actId="14826"/>
          <ac:picMkLst>
            <pc:docMk/>
            <pc:sldMk cId="3283517966" sldId="298"/>
            <ac:picMk id="8" creationId="{A238EC32-21BF-A746-BC30-55E23D067C3C}"/>
          </ac:picMkLst>
        </pc:picChg>
      </pc:sldChg>
      <pc:sldChg chg="addSp delSp modSp add mod">
        <pc:chgData name="Ito Koichi" userId="7c59a57e28e385d5" providerId="LiveId" clId="{7BE1A0C3-347C-9343-AD50-5497B70087AB}" dt="2022-02-03T13:47:43.101" v="6297" actId="20577"/>
        <pc:sldMkLst>
          <pc:docMk/>
          <pc:sldMk cId="3339642416" sldId="299"/>
        </pc:sldMkLst>
        <pc:spChg chg="mod">
          <ac:chgData name="Ito Koichi" userId="7c59a57e28e385d5" providerId="LiveId" clId="{7BE1A0C3-347C-9343-AD50-5497B70087AB}" dt="2022-02-03T13:47:43.101" v="6297" actId="20577"/>
          <ac:spMkLst>
            <pc:docMk/>
            <pc:sldMk cId="3339642416" sldId="299"/>
            <ac:spMk id="2" creationId="{18C0CF12-81D5-0D4F-A24F-3BAC5546F0A4}"/>
          </ac:spMkLst>
        </pc:spChg>
        <pc:spChg chg="mod">
          <ac:chgData name="Ito Koichi" userId="7c59a57e28e385d5" providerId="LiveId" clId="{7BE1A0C3-347C-9343-AD50-5497B70087AB}" dt="2022-02-03T04:35:03.354" v="4956" actId="20577"/>
          <ac:spMkLst>
            <pc:docMk/>
            <pc:sldMk cId="3339642416" sldId="299"/>
            <ac:spMk id="11" creationId="{EF263226-25B0-EA4D-82E2-964609E62687}"/>
          </ac:spMkLst>
        </pc:spChg>
        <pc:picChg chg="add del mod">
          <ac:chgData name="Ito Koichi" userId="7c59a57e28e385d5" providerId="LiveId" clId="{7BE1A0C3-347C-9343-AD50-5497B70087AB}" dt="2022-02-03T12:14:54.834" v="5011" actId="478"/>
          <ac:picMkLst>
            <pc:docMk/>
            <pc:sldMk cId="3339642416" sldId="299"/>
            <ac:picMk id="6" creationId="{0EAF75CA-CA4F-404C-9D31-2A0C3082DA40}"/>
          </ac:picMkLst>
        </pc:picChg>
        <pc:picChg chg="del">
          <ac:chgData name="Ito Koichi" userId="7c59a57e28e385d5" providerId="LiveId" clId="{7BE1A0C3-347C-9343-AD50-5497B70087AB}" dt="2022-02-03T04:35:06.196" v="4957" actId="478"/>
          <ac:picMkLst>
            <pc:docMk/>
            <pc:sldMk cId="3339642416" sldId="299"/>
            <ac:picMk id="8" creationId="{A238EC32-21BF-A746-BC30-55E23D067C3C}"/>
          </ac:picMkLst>
        </pc:picChg>
        <pc:picChg chg="add mod">
          <ac:chgData name="Ito Koichi" userId="7c59a57e28e385d5" providerId="LiveId" clId="{7BE1A0C3-347C-9343-AD50-5497B70087AB}" dt="2022-02-03T12:15:00.195" v="5012" actId="14826"/>
          <ac:picMkLst>
            <pc:docMk/>
            <pc:sldMk cId="3339642416" sldId="299"/>
            <ac:picMk id="9" creationId="{6DC7D8C0-81D2-2741-AD47-8F9FA8C336E5}"/>
          </ac:picMkLst>
        </pc:picChg>
      </pc:sldChg>
      <pc:sldChg chg="addSp delSp modSp add mod">
        <pc:chgData name="Ito Koichi" userId="7c59a57e28e385d5" providerId="LiveId" clId="{7BE1A0C3-347C-9343-AD50-5497B70087AB}" dt="2022-02-03T13:47:51.308" v="6298"/>
        <pc:sldMkLst>
          <pc:docMk/>
          <pc:sldMk cId="2017790741" sldId="300"/>
        </pc:sldMkLst>
        <pc:spChg chg="mod">
          <ac:chgData name="Ito Koichi" userId="7c59a57e28e385d5" providerId="LiveId" clId="{7BE1A0C3-347C-9343-AD50-5497B70087AB}" dt="2022-02-03T13:47:51.308" v="6298"/>
          <ac:spMkLst>
            <pc:docMk/>
            <pc:sldMk cId="2017790741" sldId="300"/>
            <ac:spMk id="2" creationId="{18C0CF12-81D5-0D4F-A24F-3BAC5546F0A4}"/>
          </ac:spMkLst>
        </pc:spChg>
        <pc:spChg chg="mod">
          <ac:chgData name="Ito Koichi" userId="7c59a57e28e385d5" providerId="LiveId" clId="{7BE1A0C3-347C-9343-AD50-5497B70087AB}" dt="2022-02-03T08:47:39.884" v="4966" actId="20577"/>
          <ac:spMkLst>
            <pc:docMk/>
            <pc:sldMk cId="2017790741" sldId="300"/>
            <ac:spMk id="7" creationId="{726EACEF-83EB-C249-AEE0-7E735D27208C}"/>
          </ac:spMkLst>
        </pc:spChg>
        <pc:spChg chg="mod">
          <ac:chgData name="Ito Koichi" userId="7c59a57e28e385d5" providerId="LiveId" clId="{7BE1A0C3-347C-9343-AD50-5497B70087AB}" dt="2022-02-03T08:48:26.920" v="5006" actId="20577"/>
          <ac:spMkLst>
            <pc:docMk/>
            <pc:sldMk cId="2017790741" sldId="300"/>
            <ac:spMk id="9" creationId="{11AE8FD6-28B8-E047-BDD4-CA697AEDA5F6}"/>
          </ac:spMkLst>
        </pc:spChg>
        <pc:picChg chg="del">
          <ac:chgData name="Ito Koichi" userId="7c59a57e28e385d5" providerId="LiveId" clId="{7BE1A0C3-347C-9343-AD50-5497B70087AB}" dt="2022-02-03T12:17:09.463" v="5013" actId="478"/>
          <ac:picMkLst>
            <pc:docMk/>
            <pc:sldMk cId="2017790741" sldId="300"/>
            <ac:picMk id="6" creationId="{DB6DBBCE-22AE-E542-8844-AB48F83384E4}"/>
          </ac:picMkLst>
        </pc:picChg>
        <pc:picChg chg="add mod">
          <ac:chgData name="Ito Koichi" userId="7c59a57e28e385d5" providerId="LiveId" clId="{7BE1A0C3-347C-9343-AD50-5497B70087AB}" dt="2022-02-03T12:18:48.253" v="5025" actId="1076"/>
          <ac:picMkLst>
            <pc:docMk/>
            <pc:sldMk cId="2017790741" sldId="300"/>
            <ac:picMk id="10" creationId="{34B30F73-EEEF-3D47-BC8D-477E46EEB5C7}"/>
          </ac:picMkLst>
        </pc:picChg>
        <pc:picChg chg="del">
          <ac:chgData name="Ito Koichi" userId="7c59a57e28e385d5" providerId="LiveId" clId="{7BE1A0C3-347C-9343-AD50-5497B70087AB}" dt="2022-02-03T12:17:10.452" v="5014" actId="478"/>
          <ac:picMkLst>
            <pc:docMk/>
            <pc:sldMk cId="2017790741" sldId="300"/>
            <ac:picMk id="12" creationId="{A2D4085A-7F8A-984B-AE50-567037012888}"/>
          </ac:picMkLst>
        </pc:picChg>
        <pc:picChg chg="add mod">
          <ac:chgData name="Ito Koichi" userId="7c59a57e28e385d5" providerId="LiveId" clId="{7BE1A0C3-347C-9343-AD50-5497B70087AB}" dt="2022-02-03T12:18:44.438" v="5023" actId="1076"/>
          <ac:picMkLst>
            <pc:docMk/>
            <pc:sldMk cId="2017790741" sldId="300"/>
            <ac:picMk id="13" creationId="{AA38F203-0968-C343-95F0-A1B2E60EBB10}"/>
          </ac:picMkLst>
        </pc:picChg>
        <pc:picChg chg="add mod">
          <ac:chgData name="Ito Koichi" userId="7c59a57e28e385d5" providerId="LiveId" clId="{7BE1A0C3-347C-9343-AD50-5497B70087AB}" dt="2022-02-03T12:18:54.655" v="5027" actId="1076"/>
          <ac:picMkLst>
            <pc:docMk/>
            <pc:sldMk cId="2017790741" sldId="300"/>
            <ac:picMk id="15" creationId="{592017E5-5CD5-FE49-9EEB-3EF6FE972D08}"/>
          </ac:picMkLst>
        </pc:picChg>
      </pc:sldChg>
      <pc:sldChg chg="modSp add mod">
        <pc:chgData name="Ito Koichi" userId="7c59a57e28e385d5" providerId="LiveId" clId="{7BE1A0C3-347C-9343-AD50-5497B70087AB}" dt="2022-02-03T13:47:55.265" v="6299"/>
        <pc:sldMkLst>
          <pc:docMk/>
          <pc:sldMk cId="1200639827" sldId="301"/>
        </pc:sldMkLst>
        <pc:spChg chg="mod">
          <ac:chgData name="Ito Koichi" userId="7c59a57e28e385d5" providerId="LiveId" clId="{7BE1A0C3-347C-9343-AD50-5497B70087AB}" dt="2022-02-03T13:47:55.265" v="6299"/>
          <ac:spMkLst>
            <pc:docMk/>
            <pc:sldMk cId="1200639827" sldId="301"/>
            <ac:spMk id="2" creationId="{18C0CF12-81D5-0D4F-A24F-3BAC5546F0A4}"/>
          </ac:spMkLst>
        </pc:spChg>
        <pc:spChg chg="mod">
          <ac:chgData name="Ito Koichi" userId="7c59a57e28e385d5" providerId="LiveId" clId="{7BE1A0C3-347C-9343-AD50-5497B70087AB}" dt="2022-02-03T12:19:27.978" v="5034" actId="20577"/>
          <ac:spMkLst>
            <pc:docMk/>
            <pc:sldMk cId="1200639827" sldId="301"/>
            <ac:spMk id="11" creationId="{EF263226-25B0-EA4D-82E2-964609E62687}"/>
          </ac:spMkLst>
        </pc:spChg>
        <pc:picChg chg="mod">
          <ac:chgData name="Ito Koichi" userId="7c59a57e28e385d5" providerId="LiveId" clId="{7BE1A0C3-347C-9343-AD50-5497B70087AB}" dt="2022-02-03T12:19:50.272" v="5035" actId="14826"/>
          <ac:picMkLst>
            <pc:docMk/>
            <pc:sldMk cId="1200639827" sldId="301"/>
            <ac:picMk id="9" creationId="{6DC7D8C0-81D2-2741-AD47-8F9FA8C336E5}"/>
          </ac:picMkLst>
        </pc:picChg>
      </pc:sldChg>
      <pc:sldChg chg="modSp add mod">
        <pc:chgData name="Ito Koichi" userId="7c59a57e28e385d5" providerId="LiveId" clId="{7BE1A0C3-347C-9343-AD50-5497B70087AB}" dt="2022-02-03T13:48:03.984" v="6330" actId="20577"/>
        <pc:sldMkLst>
          <pc:docMk/>
          <pc:sldMk cId="861466284" sldId="302"/>
        </pc:sldMkLst>
        <pc:spChg chg="mod">
          <ac:chgData name="Ito Koichi" userId="7c59a57e28e385d5" providerId="LiveId" clId="{7BE1A0C3-347C-9343-AD50-5497B70087AB}" dt="2022-02-03T13:48:03.984" v="6330" actId="20577"/>
          <ac:spMkLst>
            <pc:docMk/>
            <pc:sldMk cId="861466284" sldId="302"/>
            <ac:spMk id="2" creationId="{18C0CF12-81D5-0D4F-A24F-3BAC5546F0A4}"/>
          </ac:spMkLst>
        </pc:spChg>
        <pc:spChg chg="mod">
          <ac:chgData name="Ito Koichi" userId="7c59a57e28e385d5" providerId="LiveId" clId="{7BE1A0C3-347C-9343-AD50-5497B70087AB}" dt="2022-02-03T12:20:55.909" v="5131" actId="20577"/>
          <ac:spMkLst>
            <pc:docMk/>
            <pc:sldMk cId="861466284" sldId="302"/>
            <ac:spMk id="11" creationId="{EF263226-25B0-EA4D-82E2-964609E62687}"/>
          </ac:spMkLst>
        </pc:spChg>
        <pc:picChg chg="mod">
          <ac:chgData name="Ito Koichi" userId="7c59a57e28e385d5" providerId="LiveId" clId="{7BE1A0C3-347C-9343-AD50-5497B70087AB}" dt="2022-02-03T12:23:17.687" v="5132" actId="14826"/>
          <ac:picMkLst>
            <pc:docMk/>
            <pc:sldMk cId="861466284" sldId="302"/>
            <ac:picMk id="9" creationId="{6DC7D8C0-81D2-2741-AD47-8F9FA8C336E5}"/>
          </ac:picMkLst>
        </pc:picChg>
      </pc:sldChg>
      <pc:sldChg chg="addSp delSp modSp add mod">
        <pc:chgData name="Ito Koichi" userId="7c59a57e28e385d5" providerId="LiveId" clId="{7BE1A0C3-347C-9343-AD50-5497B70087AB}" dt="2022-02-03T13:48:07.407" v="6331"/>
        <pc:sldMkLst>
          <pc:docMk/>
          <pc:sldMk cId="3926047802" sldId="303"/>
        </pc:sldMkLst>
        <pc:spChg chg="mod">
          <ac:chgData name="Ito Koichi" userId="7c59a57e28e385d5" providerId="LiveId" clId="{7BE1A0C3-347C-9343-AD50-5497B70087AB}" dt="2022-02-03T13:48:07.407" v="6331"/>
          <ac:spMkLst>
            <pc:docMk/>
            <pc:sldMk cId="3926047802" sldId="303"/>
            <ac:spMk id="2" creationId="{18C0CF12-81D5-0D4F-A24F-3BAC5546F0A4}"/>
          </ac:spMkLst>
        </pc:spChg>
        <pc:spChg chg="mod">
          <ac:chgData name="Ito Koichi" userId="7c59a57e28e385d5" providerId="LiveId" clId="{7BE1A0C3-347C-9343-AD50-5497B70087AB}" dt="2022-02-03T12:26:25.908" v="5270" actId="20577"/>
          <ac:spMkLst>
            <pc:docMk/>
            <pc:sldMk cId="3926047802" sldId="303"/>
            <ac:spMk id="7" creationId="{726EACEF-83EB-C249-AEE0-7E735D27208C}"/>
          </ac:spMkLst>
        </pc:spChg>
        <pc:spChg chg="mod">
          <ac:chgData name="Ito Koichi" userId="7c59a57e28e385d5" providerId="LiveId" clId="{7BE1A0C3-347C-9343-AD50-5497B70087AB}" dt="2022-02-03T12:38:41.126" v="5465" actId="20577"/>
          <ac:spMkLst>
            <pc:docMk/>
            <pc:sldMk cId="3926047802" sldId="303"/>
            <ac:spMk id="9" creationId="{11AE8FD6-28B8-E047-BDD4-CA697AEDA5F6}"/>
          </ac:spMkLst>
        </pc:spChg>
        <pc:picChg chg="add mod">
          <ac:chgData name="Ito Koichi" userId="7c59a57e28e385d5" providerId="LiveId" clId="{7BE1A0C3-347C-9343-AD50-5497B70087AB}" dt="2022-02-03T12:29:49.258" v="5416" actId="1076"/>
          <ac:picMkLst>
            <pc:docMk/>
            <pc:sldMk cId="3926047802" sldId="303"/>
            <ac:picMk id="6" creationId="{FCAB92E5-F791-4C4D-8E31-0420692ADB98}"/>
          </ac:picMkLst>
        </pc:picChg>
        <pc:picChg chg="del">
          <ac:chgData name="Ito Koichi" userId="7c59a57e28e385d5" providerId="LiveId" clId="{7BE1A0C3-347C-9343-AD50-5497B70087AB}" dt="2022-02-03T12:28:46.863" v="5406" actId="478"/>
          <ac:picMkLst>
            <pc:docMk/>
            <pc:sldMk cId="3926047802" sldId="303"/>
            <ac:picMk id="10" creationId="{34B30F73-EEEF-3D47-BC8D-477E46EEB5C7}"/>
          </ac:picMkLst>
        </pc:picChg>
        <pc:picChg chg="add mod">
          <ac:chgData name="Ito Koichi" userId="7c59a57e28e385d5" providerId="LiveId" clId="{7BE1A0C3-347C-9343-AD50-5497B70087AB}" dt="2022-02-03T12:29:51.292" v="5417" actId="1076"/>
          <ac:picMkLst>
            <pc:docMk/>
            <pc:sldMk cId="3926047802" sldId="303"/>
            <ac:picMk id="12" creationId="{DB61BE00-278E-7042-BBDC-F9CF152A8E59}"/>
          </ac:picMkLst>
        </pc:picChg>
        <pc:picChg chg="del">
          <ac:chgData name="Ito Koichi" userId="7c59a57e28e385d5" providerId="LiveId" clId="{7BE1A0C3-347C-9343-AD50-5497B70087AB}" dt="2022-02-03T12:28:46.863" v="5406" actId="478"/>
          <ac:picMkLst>
            <pc:docMk/>
            <pc:sldMk cId="3926047802" sldId="303"/>
            <ac:picMk id="13" creationId="{AA38F203-0968-C343-95F0-A1B2E60EBB10}"/>
          </ac:picMkLst>
        </pc:picChg>
        <pc:picChg chg="del">
          <ac:chgData name="Ito Koichi" userId="7c59a57e28e385d5" providerId="LiveId" clId="{7BE1A0C3-347C-9343-AD50-5497B70087AB}" dt="2022-02-03T12:28:46.863" v="5406" actId="478"/>
          <ac:picMkLst>
            <pc:docMk/>
            <pc:sldMk cId="3926047802" sldId="303"/>
            <ac:picMk id="15" creationId="{592017E5-5CD5-FE49-9EEB-3EF6FE972D08}"/>
          </ac:picMkLst>
        </pc:picChg>
      </pc:sldChg>
      <pc:sldChg chg="addSp delSp modSp add mod">
        <pc:chgData name="Ito Koichi" userId="7c59a57e28e385d5" providerId="LiveId" clId="{7BE1A0C3-347C-9343-AD50-5497B70087AB}" dt="2022-02-03T13:48:09.963" v="6332"/>
        <pc:sldMkLst>
          <pc:docMk/>
          <pc:sldMk cId="933917220" sldId="304"/>
        </pc:sldMkLst>
        <pc:spChg chg="mod">
          <ac:chgData name="Ito Koichi" userId="7c59a57e28e385d5" providerId="LiveId" clId="{7BE1A0C3-347C-9343-AD50-5497B70087AB}" dt="2022-02-03T13:48:09.963" v="6332"/>
          <ac:spMkLst>
            <pc:docMk/>
            <pc:sldMk cId="933917220" sldId="304"/>
            <ac:spMk id="2" creationId="{18C0CF12-81D5-0D4F-A24F-3BAC5546F0A4}"/>
          </ac:spMkLst>
        </pc:spChg>
        <pc:spChg chg="mod">
          <ac:chgData name="Ito Koichi" userId="7c59a57e28e385d5" providerId="LiveId" clId="{7BE1A0C3-347C-9343-AD50-5497B70087AB}" dt="2022-02-03T12:38:36.879" v="5464" actId="20577"/>
          <ac:spMkLst>
            <pc:docMk/>
            <pc:sldMk cId="933917220" sldId="304"/>
            <ac:spMk id="7" creationId="{726EACEF-83EB-C249-AEE0-7E735D27208C}"/>
          </ac:spMkLst>
        </pc:spChg>
        <pc:spChg chg="mod">
          <ac:chgData name="Ito Koichi" userId="7c59a57e28e385d5" providerId="LiveId" clId="{7BE1A0C3-347C-9343-AD50-5497B70087AB}" dt="2022-02-03T12:39:32.682" v="5524" actId="20577"/>
          <ac:spMkLst>
            <pc:docMk/>
            <pc:sldMk cId="933917220" sldId="304"/>
            <ac:spMk id="9" creationId="{11AE8FD6-28B8-E047-BDD4-CA697AEDA5F6}"/>
          </ac:spMkLst>
        </pc:spChg>
        <pc:picChg chg="del">
          <ac:chgData name="Ito Koichi" userId="7c59a57e28e385d5" providerId="LiveId" clId="{7BE1A0C3-347C-9343-AD50-5497B70087AB}" dt="2022-02-03T12:38:46.580" v="5466" actId="478"/>
          <ac:picMkLst>
            <pc:docMk/>
            <pc:sldMk cId="933917220" sldId="304"/>
            <ac:picMk id="6" creationId="{FCAB92E5-F791-4C4D-8E31-0420692ADB98}"/>
          </ac:picMkLst>
        </pc:picChg>
        <pc:picChg chg="add mod">
          <ac:chgData name="Ito Koichi" userId="7c59a57e28e385d5" providerId="LiveId" clId="{7BE1A0C3-347C-9343-AD50-5497B70087AB}" dt="2022-02-03T12:40:35.405" v="5542" actId="14100"/>
          <ac:picMkLst>
            <pc:docMk/>
            <pc:sldMk cId="933917220" sldId="304"/>
            <ac:picMk id="10" creationId="{3E9F318E-0C8D-F148-9E6D-E6D95E7ACFB1}"/>
          </ac:picMkLst>
        </pc:picChg>
        <pc:picChg chg="del">
          <ac:chgData name="Ito Koichi" userId="7c59a57e28e385d5" providerId="LiveId" clId="{7BE1A0C3-347C-9343-AD50-5497B70087AB}" dt="2022-02-03T12:38:47.491" v="5467" actId="478"/>
          <ac:picMkLst>
            <pc:docMk/>
            <pc:sldMk cId="933917220" sldId="304"/>
            <ac:picMk id="12" creationId="{DB61BE00-278E-7042-BBDC-F9CF152A8E59}"/>
          </ac:picMkLst>
        </pc:picChg>
        <pc:picChg chg="add mod">
          <ac:chgData name="Ito Koichi" userId="7c59a57e28e385d5" providerId="LiveId" clId="{7BE1A0C3-347C-9343-AD50-5497B70087AB}" dt="2022-02-03T12:40:39.068" v="5543" actId="1076"/>
          <ac:picMkLst>
            <pc:docMk/>
            <pc:sldMk cId="933917220" sldId="304"/>
            <ac:picMk id="13" creationId="{F11819D3-72DF-6249-93A3-D8A2A8CD0202}"/>
          </ac:picMkLst>
        </pc:picChg>
      </pc:sldChg>
      <pc:sldChg chg="addSp delSp modSp add del mod">
        <pc:chgData name="Ito Koichi" userId="7c59a57e28e385d5" providerId="LiveId" clId="{7BE1A0C3-347C-9343-AD50-5497B70087AB}" dt="2022-02-03T13:48:12.282" v="6333"/>
        <pc:sldMkLst>
          <pc:docMk/>
          <pc:sldMk cId="3395236631" sldId="305"/>
        </pc:sldMkLst>
        <pc:spChg chg="mod">
          <ac:chgData name="Ito Koichi" userId="7c59a57e28e385d5" providerId="LiveId" clId="{7BE1A0C3-347C-9343-AD50-5497B70087AB}" dt="2022-02-03T13:48:12.282" v="6333"/>
          <ac:spMkLst>
            <pc:docMk/>
            <pc:sldMk cId="3395236631" sldId="305"/>
            <ac:spMk id="2" creationId="{18C0CF12-81D5-0D4F-A24F-3BAC5546F0A4}"/>
          </ac:spMkLst>
        </pc:spChg>
        <pc:spChg chg="mod">
          <ac:chgData name="Ito Koichi" userId="7c59a57e28e385d5" providerId="LiveId" clId="{7BE1A0C3-347C-9343-AD50-5497B70087AB}" dt="2022-02-03T12:44:17.635" v="5860" actId="20577"/>
          <ac:spMkLst>
            <pc:docMk/>
            <pc:sldMk cId="3395236631" sldId="305"/>
            <ac:spMk id="7" creationId="{726EACEF-83EB-C249-AEE0-7E735D27208C}"/>
          </ac:spMkLst>
        </pc:spChg>
        <pc:spChg chg="mod">
          <ac:chgData name="Ito Koichi" userId="7c59a57e28e385d5" providerId="LiveId" clId="{7BE1A0C3-347C-9343-AD50-5497B70087AB}" dt="2022-02-03T12:52:16.664" v="6046" actId="20577"/>
          <ac:spMkLst>
            <pc:docMk/>
            <pc:sldMk cId="3395236631" sldId="305"/>
            <ac:spMk id="9" creationId="{11AE8FD6-28B8-E047-BDD4-CA697AEDA5F6}"/>
          </ac:spMkLst>
        </pc:spChg>
        <pc:picChg chg="add mod">
          <ac:chgData name="Ito Koichi" userId="7c59a57e28e385d5" providerId="LiveId" clId="{7BE1A0C3-347C-9343-AD50-5497B70087AB}" dt="2022-02-03T12:43:11.151" v="5676" actId="1076"/>
          <ac:picMkLst>
            <pc:docMk/>
            <pc:sldMk cId="3395236631" sldId="305"/>
            <ac:picMk id="6" creationId="{AC711BFB-F336-7445-BD03-42C426F0332F}"/>
          </ac:picMkLst>
        </pc:picChg>
        <pc:picChg chg="del">
          <ac:chgData name="Ito Koichi" userId="7c59a57e28e385d5" providerId="LiveId" clId="{7BE1A0C3-347C-9343-AD50-5497B70087AB}" dt="2022-02-03T12:41:34.249" v="5615" actId="478"/>
          <ac:picMkLst>
            <pc:docMk/>
            <pc:sldMk cId="3395236631" sldId="305"/>
            <ac:picMk id="10" creationId="{3E9F318E-0C8D-F148-9E6D-E6D95E7ACFB1}"/>
          </ac:picMkLst>
        </pc:picChg>
        <pc:picChg chg="add mod">
          <ac:chgData name="Ito Koichi" userId="7c59a57e28e385d5" providerId="LiveId" clId="{7BE1A0C3-347C-9343-AD50-5497B70087AB}" dt="2022-02-03T12:52:26.562" v="6050" actId="1076"/>
          <ac:picMkLst>
            <pc:docMk/>
            <pc:sldMk cId="3395236631" sldId="305"/>
            <ac:picMk id="12" creationId="{462BA874-DE3D-BB40-9580-A7F7F16D6F0A}"/>
          </ac:picMkLst>
        </pc:picChg>
        <pc:picChg chg="del">
          <ac:chgData name="Ito Koichi" userId="7c59a57e28e385d5" providerId="LiveId" clId="{7BE1A0C3-347C-9343-AD50-5497B70087AB}" dt="2022-02-03T12:41:34.249" v="5615" actId="478"/>
          <ac:picMkLst>
            <pc:docMk/>
            <pc:sldMk cId="3395236631" sldId="305"/>
            <ac:picMk id="13" creationId="{F11819D3-72DF-6249-93A3-D8A2A8CD0202}"/>
          </ac:picMkLst>
        </pc:picChg>
        <pc:cxnChg chg="del">
          <ac:chgData name="Ito Koichi" userId="7c59a57e28e385d5" providerId="LiveId" clId="{7BE1A0C3-347C-9343-AD50-5497B70087AB}" dt="2022-02-03T12:42:39.051" v="5670" actId="478"/>
          <ac:cxnSpMkLst>
            <pc:docMk/>
            <pc:sldMk cId="3395236631" sldId="305"/>
            <ac:cxnSpMk id="8" creationId="{A58C18FD-2B03-F642-8729-838FF160FC40}"/>
          </ac:cxnSpMkLst>
        </pc:cxnChg>
      </pc:sldChg>
      <pc:sldChg chg="addSp delSp modSp new mod">
        <pc:chgData name="Ito Koichi" userId="7c59a57e28e385d5" providerId="LiveId" clId="{7BE1A0C3-347C-9343-AD50-5497B70087AB}" dt="2022-02-03T13:50:32.962" v="6458"/>
        <pc:sldMkLst>
          <pc:docMk/>
          <pc:sldMk cId="3530554265" sldId="306"/>
        </pc:sldMkLst>
        <pc:spChg chg="mod">
          <ac:chgData name="Ito Koichi" userId="7c59a57e28e385d5" providerId="LiveId" clId="{7BE1A0C3-347C-9343-AD50-5497B70087AB}" dt="2022-02-03T13:48:31.722" v="6368" actId="20577"/>
          <ac:spMkLst>
            <pc:docMk/>
            <pc:sldMk cId="3530554265" sldId="306"/>
            <ac:spMk id="2" creationId="{0E35C533-CB0A-1A46-9517-CDACEABE50DD}"/>
          </ac:spMkLst>
        </pc:spChg>
        <pc:spChg chg="del">
          <ac:chgData name="Ito Koichi" userId="7c59a57e28e385d5" providerId="LiveId" clId="{7BE1A0C3-347C-9343-AD50-5497B70087AB}" dt="2022-02-03T12:45:25.500" v="5867" actId="478"/>
          <ac:spMkLst>
            <pc:docMk/>
            <pc:sldMk cId="3530554265" sldId="306"/>
            <ac:spMk id="3" creationId="{3DEFC305-8539-B14A-B2CD-731224CDB13A}"/>
          </ac:spMkLst>
        </pc:spChg>
        <pc:spChg chg="mod">
          <ac:chgData name="Ito Koichi" userId="7c59a57e28e385d5" providerId="LiveId" clId="{7BE1A0C3-347C-9343-AD50-5497B70087AB}" dt="2022-02-03T13:50:32.962" v="6458"/>
          <ac:spMkLst>
            <pc:docMk/>
            <pc:sldMk cId="3530554265" sldId="306"/>
            <ac:spMk id="4" creationId="{E30F4E22-C3CA-6D43-A136-29B793FD3495}"/>
          </ac:spMkLst>
        </pc:spChg>
        <pc:spChg chg="add mod">
          <ac:chgData name="Ito Koichi" userId="7c59a57e28e385d5" providerId="LiveId" clId="{7BE1A0C3-347C-9343-AD50-5497B70087AB}" dt="2022-02-03T12:46:34.796" v="5902" actId="1076"/>
          <ac:spMkLst>
            <pc:docMk/>
            <pc:sldMk cId="3530554265" sldId="306"/>
            <ac:spMk id="8" creationId="{6F60B2D8-B5AB-FA4A-A396-D3121EA05CDC}"/>
          </ac:spMkLst>
        </pc:spChg>
        <pc:spChg chg="add mod">
          <ac:chgData name="Ito Koichi" userId="7c59a57e28e385d5" providerId="LiveId" clId="{7BE1A0C3-347C-9343-AD50-5497B70087AB}" dt="2022-02-03T12:48:49.714" v="5941" actId="2085"/>
          <ac:spMkLst>
            <pc:docMk/>
            <pc:sldMk cId="3530554265" sldId="306"/>
            <ac:spMk id="14" creationId="{85BA5CD1-12B3-DA40-A04A-9D8252C13EC1}"/>
          </ac:spMkLst>
        </pc:spChg>
        <pc:spChg chg="add mod">
          <ac:chgData name="Ito Koichi" userId="7c59a57e28e385d5" providerId="LiveId" clId="{7BE1A0C3-347C-9343-AD50-5497B70087AB}" dt="2022-02-03T12:48:53.962" v="5942" actId="2085"/>
          <ac:spMkLst>
            <pc:docMk/>
            <pc:sldMk cId="3530554265" sldId="306"/>
            <ac:spMk id="16" creationId="{4FC20876-FC8B-F44E-A5C5-B66ACE434FA1}"/>
          </ac:spMkLst>
        </pc:spChg>
        <pc:spChg chg="add del mod">
          <ac:chgData name="Ito Koichi" userId="7c59a57e28e385d5" providerId="LiveId" clId="{7BE1A0C3-347C-9343-AD50-5497B70087AB}" dt="2022-02-03T12:49:05.981" v="5944"/>
          <ac:spMkLst>
            <pc:docMk/>
            <pc:sldMk cId="3530554265" sldId="306"/>
            <ac:spMk id="19" creationId="{A2E6E0B4-24FC-1E4C-B46C-B266E77B7D41}"/>
          </ac:spMkLst>
        </pc:spChg>
        <pc:spChg chg="add mod">
          <ac:chgData name="Ito Koichi" userId="7c59a57e28e385d5" providerId="LiveId" clId="{7BE1A0C3-347C-9343-AD50-5497B70087AB}" dt="2022-02-03T12:49:21.361" v="5960" actId="14100"/>
          <ac:spMkLst>
            <pc:docMk/>
            <pc:sldMk cId="3530554265" sldId="306"/>
            <ac:spMk id="21" creationId="{07581260-140B-584F-8F7F-E31279A8D8CB}"/>
          </ac:spMkLst>
        </pc:spChg>
        <pc:spChg chg="add mod">
          <ac:chgData name="Ito Koichi" userId="7c59a57e28e385d5" providerId="LiveId" clId="{7BE1A0C3-347C-9343-AD50-5497B70087AB}" dt="2022-02-03T12:49:35.878" v="5972" actId="14100"/>
          <ac:spMkLst>
            <pc:docMk/>
            <pc:sldMk cId="3530554265" sldId="306"/>
            <ac:spMk id="23" creationId="{281309B0-C541-8346-9D12-9D8C6A3F0759}"/>
          </ac:spMkLst>
        </pc:spChg>
        <pc:spChg chg="add mod">
          <ac:chgData name="Ito Koichi" userId="7c59a57e28e385d5" providerId="LiveId" clId="{7BE1A0C3-347C-9343-AD50-5497B70087AB}" dt="2022-02-03T12:50:05.161" v="5991" actId="14100"/>
          <ac:spMkLst>
            <pc:docMk/>
            <pc:sldMk cId="3530554265" sldId="306"/>
            <ac:spMk id="25" creationId="{80C7AD8E-2A80-5349-B6DE-46E1412C5E71}"/>
          </ac:spMkLst>
        </pc:spChg>
        <pc:spChg chg="add mod">
          <ac:chgData name="Ito Koichi" userId="7c59a57e28e385d5" providerId="LiveId" clId="{7BE1A0C3-347C-9343-AD50-5497B70087AB}" dt="2022-02-03T12:50:58.393" v="6023" actId="1076"/>
          <ac:spMkLst>
            <pc:docMk/>
            <pc:sldMk cId="3530554265" sldId="306"/>
            <ac:spMk id="31" creationId="{1CE6DB91-3081-2C43-9737-018A45A059E1}"/>
          </ac:spMkLst>
        </pc:spChg>
        <pc:spChg chg="add del">
          <ac:chgData name="Ito Koichi" userId="7c59a57e28e385d5" providerId="LiveId" clId="{7BE1A0C3-347C-9343-AD50-5497B70087AB}" dt="2022-02-03T12:51:09.435" v="6026" actId="22"/>
          <ac:spMkLst>
            <pc:docMk/>
            <pc:sldMk cId="3530554265" sldId="306"/>
            <ac:spMk id="35" creationId="{D22A3B57-A449-8F47-A828-6BC4605AC409}"/>
          </ac:spMkLst>
        </pc:spChg>
        <pc:spChg chg="add mod">
          <ac:chgData name="Ito Koichi" userId="7c59a57e28e385d5" providerId="LiveId" clId="{7BE1A0C3-347C-9343-AD50-5497B70087AB}" dt="2022-02-03T12:51:21.892" v="6039" actId="20577"/>
          <ac:spMkLst>
            <pc:docMk/>
            <pc:sldMk cId="3530554265" sldId="306"/>
            <ac:spMk id="37" creationId="{8CB93116-33CF-9B44-A7F1-C71D4EBB3DF9}"/>
          </ac:spMkLst>
        </pc:spChg>
        <pc:picChg chg="add mod">
          <ac:chgData name="Ito Koichi" userId="7c59a57e28e385d5" providerId="LiveId" clId="{7BE1A0C3-347C-9343-AD50-5497B70087AB}" dt="2022-02-03T12:46:22.464" v="5878" actId="1076"/>
          <ac:picMkLst>
            <pc:docMk/>
            <pc:sldMk cId="3530554265" sldId="306"/>
            <ac:picMk id="7" creationId="{0F1EA6E0-2A69-3E4A-A3EF-76A596B3DFB3}"/>
          </ac:picMkLst>
        </pc:picChg>
        <pc:cxnChg chg="add mod">
          <ac:chgData name="Ito Koichi" userId="7c59a57e28e385d5" providerId="LiveId" clId="{7BE1A0C3-347C-9343-AD50-5497B70087AB}" dt="2022-02-03T12:47:08.212" v="5909" actId="14100"/>
          <ac:cxnSpMkLst>
            <pc:docMk/>
            <pc:sldMk cId="3530554265" sldId="306"/>
            <ac:cxnSpMk id="10" creationId="{33FC326C-B3A9-304C-811C-2846F4915D36}"/>
          </ac:cxnSpMkLst>
        </pc:cxnChg>
        <pc:cxnChg chg="add mod">
          <ac:chgData name="Ito Koichi" userId="7c59a57e28e385d5" providerId="LiveId" clId="{7BE1A0C3-347C-9343-AD50-5497B70087AB}" dt="2022-02-03T12:48:29.016" v="5931" actId="14100"/>
          <ac:cxnSpMkLst>
            <pc:docMk/>
            <pc:sldMk cId="3530554265" sldId="306"/>
            <ac:cxnSpMk id="15" creationId="{004A1924-8775-0E4A-BC99-6E157FE85F0F}"/>
          </ac:cxnSpMkLst>
        </pc:cxnChg>
        <pc:cxnChg chg="add del mod">
          <ac:chgData name="Ito Koichi" userId="7c59a57e28e385d5" providerId="LiveId" clId="{7BE1A0C3-347C-9343-AD50-5497B70087AB}" dt="2022-02-03T12:49:05.981" v="5944"/>
          <ac:cxnSpMkLst>
            <pc:docMk/>
            <pc:sldMk cId="3530554265" sldId="306"/>
            <ac:cxnSpMk id="18" creationId="{D19C6F30-2395-3140-816A-79C5196B214F}"/>
          </ac:cxnSpMkLst>
        </pc:cxnChg>
        <pc:cxnChg chg="add mod">
          <ac:chgData name="Ito Koichi" userId="7c59a57e28e385d5" providerId="LiveId" clId="{7BE1A0C3-347C-9343-AD50-5497B70087AB}" dt="2022-02-03T12:49:14.364" v="5946" actId="1076"/>
          <ac:cxnSpMkLst>
            <pc:docMk/>
            <pc:sldMk cId="3530554265" sldId="306"/>
            <ac:cxnSpMk id="20" creationId="{05996DDC-100D-E14D-9558-FD4E623B8DB7}"/>
          </ac:cxnSpMkLst>
        </pc:cxnChg>
        <pc:cxnChg chg="add mod">
          <ac:chgData name="Ito Koichi" userId="7c59a57e28e385d5" providerId="LiveId" clId="{7BE1A0C3-347C-9343-AD50-5497B70087AB}" dt="2022-02-03T12:49:30.684" v="5962" actId="1076"/>
          <ac:cxnSpMkLst>
            <pc:docMk/>
            <pc:sldMk cId="3530554265" sldId="306"/>
            <ac:cxnSpMk id="22" creationId="{731A4371-28D9-4147-8600-7DD0CB71D3EF}"/>
          </ac:cxnSpMkLst>
        </pc:cxnChg>
        <pc:cxnChg chg="add mod">
          <ac:chgData name="Ito Koichi" userId="7c59a57e28e385d5" providerId="LiveId" clId="{7BE1A0C3-347C-9343-AD50-5497B70087AB}" dt="2022-02-03T12:50:05.161" v="5991" actId="14100"/>
          <ac:cxnSpMkLst>
            <pc:docMk/>
            <pc:sldMk cId="3530554265" sldId="306"/>
            <ac:cxnSpMk id="24" creationId="{61529667-B5EA-9B45-BF82-74F15E914A6D}"/>
          </ac:cxnSpMkLst>
        </pc:cxnChg>
        <pc:cxnChg chg="add mod">
          <ac:chgData name="Ito Koichi" userId="7c59a57e28e385d5" providerId="LiveId" clId="{7BE1A0C3-347C-9343-AD50-5497B70087AB}" dt="2022-02-03T12:51:02.380" v="6024" actId="14100"/>
          <ac:cxnSpMkLst>
            <pc:docMk/>
            <pc:sldMk cId="3530554265" sldId="306"/>
            <ac:cxnSpMk id="30" creationId="{E0F4125A-B2B4-4344-B6C1-7F9C13DBC0AA}"/>
          </ac:cxnSpMkLst>
        </pc:cxnChg>
        <pc:cxnChg chg="add mod">
          <ac:chgData name="Ito Koichi" userId="7c59a57e28e385d5" providerId="LiveId" clId="{7BE1A0C3-347C-9343-AD50-5497B70087AB}" dt="2022-02-03T12:51:17.596" v="6029" actId="14100"/>
          <ac:cxnSpMkLst>
            <pc:docMk/>
            <pc:sldMk cId="3530554265" sldId="306"/>
            <ac:cxnSpMk id="36" creationId="{B3CA2397-65BC-7140-A778-617F91198C24}"/>
          </ac:cxnSpMkLst>
        </pc:cxnChg>
      </pc:sldChg>
      <pc:sldChg chg="modSp add mod">
        <pc:chgData name="Ito Koichi" userId="7c59a57e28e385d5" providerId="LiveId" clId="{7BE1A0C3-347C-9343-AD50-5497B70087AB}" dt="2022-02-03T13:48:25.939" v="6353" actId="20577"/>
        <pc:sldMkLst>
          <pc:docMk/>
          <pc:sldMk cId="2763826054" sldId="307"/>
        </pc:sldMkLst>
        <pc:spChg chg="mod">
          <ac:chgData name="Ito Koichi" userId="7c59a57e28e385d5" providerId="LiveId" clId="{7BE1A0C3-347C-9343-AD50-5497B70087AB}" dt="2022-02-03T13:48:25.939" v="6353" actId="20577"/>
          <ac:spMkLst>
            <pc:docMk/>
            <pc:sldMk cId="2763826054" sldId="307"/>
            <ac:spMk id="2" creationId="{18C0CF12-81D5-0D4F-A24F-3BAC5546F0A4}"/>
          </ac:spMkLst>
        </pc:spChg>
        <pc:spChg chg="mod">
          <ac:chgData name="Ito Koichi" userId="7c59a57e28e385d5" providerId="LiveId" clId="{7BE1A0C3-347C-9343-AD50-5497B70087AB}" dt="2022-02-03T12:53:27.002" v="6097" actId="20577"/>
          <ac:spMkLst>
            <pc:docMk/>
            <pc:sldMk cId="2763826054" sldId="307"/>
            <ac:spMk id="11" creationId="{EF263226-25B0-EA4D-82E2-964609E62687}"/>
          </ac:spMkLst>
        </pc:spChg>
        <pc:picChg chg="mod">
          <ac:chgData name="Ito Koichi" userId="7c59a57e28e385d5" providerId="LiveId" clId="{7BE1A0C3-347C-9343-AD50-5497B70087AB}" dt="2022-02-03T12:53:49.098" v="6099" actId="14826"/>
          <ac:picMkLst>
            <pc:docMk/>
            <pc:sldMk cId="2763826054" sldId="307"/>
            <ac:picMk id="9" creationId="{6DC7D8C0-81D2-2741-AD47-8F9FA8C336E5}"/>
          </ac:picMkLst>
        </pc:picChg>
      </pc:sldChg>
      <pc:sldChg chg="addSp delSp modSp add mod">
        <pc:chgData name="Ito Koichi" userId="7c59a57e28e385d5" providerId="LiveId" clId="{7BE1A0C3-347C-9343-AD50-5497B70087AB}" dt="2022-02-04T12:11:07.023" v="6605" actId="1076"/>
        <pc:sldMkLst>
          <pc:docMk/>
          <pc:sldMk cId="3233704736" sldId="308"/>
        </pc:sldMkLst>
        <pc:spChg chg="mod">
          <ac:chgData name="Ito Koichi" userId="7c59a57e28e385d5" providerId="LiveId" clId="{7BE1A0C3-347C-9343-AD50-5497B70087AB}" dt="2022-02-03T13:48:38.588" v="6387" actId="20577"/>
          <ac:spMkLst>
            <pc:docMk/>
            <pc:sldMk cId="3233704736" sldId="308"/>
            <ac:spMk id="2" creationId="{18C0CF12-81D5-0D4F-A24F-3BAC5546F0A4}"/>
          </ac:spMkLst>
        </pc:spChg>
        <pc:spChg chg="mod">
          <ac:chgData name="Ito Koichi" userId="7c59a57e28e385d5" providerId="LiveId" clId="{7BE1A0C3-347C-9343-AD50-5497B70087AB}" dt="2022-02-03T12:55:12.521" v="6135" actId="20577"/>
          <ac:spMkLst>
            <pc:docMk/>
            <pc:sldMk cId="3233704736" sldId="308"/>
            <ac:spMk id="7" creationId="{726EACEF-83EB-C249-AEE0-7E735D27208C}"/>
          </ac:spMkLst>
        </pc:spChg>
        <pc:spChg chg="mod">
          <ac:chgData name="Ito Koichi" userId="7c59a57e28e385d5" providerId="LiveId" clId="{7BE1A0C3-347C-9343-AD50-5497B70087AB}" dt="2022-02-04T12:10:43.055" v="6600" actId="1076"/>
          <ac:spMkLst>
            <pc:docMk/>
            <pc:sldMk cId="3233704736" sldId="308"/>
            <ac:spMk id="9" creationId="{11AE8FD6-28B8-E047-BDD4-CA697AEDA5F6}"/>
          </ac:spMkLst>
        </pc:spChg>
        <pc:picChg chg="del">
          <ac:chgData name="Ito Koichi" userId="7c59a57e28e385d5" providerId="LiveId" clId="{7BE1A0C3-347C-9343-AD50-5497B70087AB}" dt="2022-02-03T12:55:38.639" v="6136" actId="478"/>
          <ac:picMkLst>
            <pc:docMk/>
            <pc:sldMk cId="3233704736" sldId="308"/>
            <ac:picMk id="6" creationId="{FCAB92E5-F791-4C4D-8E31-0420692ADB98}"/>
          </ac:picMkLst>
        </pc:picChg>
        <pc:picChg chg="add del mod">
          <ac:chgData name="Ito Koichi" userId="7c59a57e28e385d5" providerId="LiveId" clId="{7BE1A0C3-347C-9343-AD50-5497B70087AB}" dt="2022-02-04T12:09:08.124" v="6582" actId="478"/>
          <ac:picMkLst>
            <pc:docMk/>
            <pc:sldMk cId="3233704736" sldId="308"/>
            <ac:picMk id="10" creationId="{BB1AA7F6-12C1-7042-BE6D-12C6E8728CAB}"/>
          </ac:picMkLst>
        </pc:picChg>
        <pc:picChg chg="del">
          <ac:chgData name="Ito Koichi" userId="7c59a57e28e385d5" providerId="LiveId" clId="{7BE1A0C3-347C-9343-AD50-5497B70087AB}" dt="2022-02-03T12:57:20.855" v="6178" actId="478"/>
          <ac:picMkLst>
            <pc:docMk/>
            <pc:sldMk cId="3233704736" sldId="308"/>
            <ac:picMk id="12" creationId="{DB61BE00-278E-7042-BBDC-F9CF152A8E59}"/>
          </ac:picMkLst>
        </pc:picChg>
        <pc:picChg chg="add mod">
          <ac:chgData name="Ito Koichi" userId="7c59a57e28e385d5" providerId="LiveId" clId="{7BE1A0C3-347C-9343-AD50-5497B70087AB}" dt="2022-02-04T12:09:29.504" v="6588" actId="1076"/>
          <ac:picMkLst>
            <pc:docMk/>
            <pc:sldMk cId="3233704736" sldId="308"/>
            <ac:picMk id="13" creationId="{97475D53-FC47-604D-91FF-825733D4582A}"/>
          </ac:picMkLst>
        </pc:picChg>
        <pc:picChg chg="add mod">
          <ac:chgData name="Ito Koichi" userId="7c59a57e28e385d5" providerId="LiveId" clId="{7BE1A0C3-347C-9343-AD50-5497B70087AB}" dt="2022-02-04T12:11:07.023" v="6605" actId="1076"/>
          <ac:picMkLst>
            <pc:docMk/>
            <pc:sldMk cId="3233704736" sldId="308"/>
            <ac:picMk id="15" creationId="{862C17C1-C65A-E041-A4B5-EB34C697793F}"/>
          </ac:picMkLst>
        </pc:picChg>
        <pc:picChg chg="add mod">
          <ac:chgData name="Ito Koichi" userId="7c59a57e28e385d5" providerId="LiveId" clId="{7BE1A0C3-347C-9343-AD50-5497B70087AB}" dt="2022-02-04T12:11:03.176" v="6604" actId="1076"/>
          <ac:picMkLst>
            <pc:docMk/>
            <pc:sldMk cId="3233704736" sldId="308"/>
            <ac:picMk id="17" creationId="{17F46D2E-F8D6-6341-A619-1230D851A4BE}"/>
          </ac:picMkLst>
        </pc:picChg>
        <pc:cxnChg chg="mod">
          <ac:chgData name="Ito Koichi" userId="7c59a57e28e385d5" providerId="LiveId" clId="{7BE1A0C3-347C-9343-AD50-5497B70087AB}" dt="2022-02-04T12:10:43.055" v="6600" actId="1076"/>
          <ac:cxnSpMkLst>
            <pc:docMk/>
            <pc:sldMk cId="3233704736" sldId="308"/>
            <ac:cxnSpMk id="8" creationId="{A58C18FD-2B03-F642-8729-838FF160FC40}"/>
          </ac:cxnSpMkLst>
        </pc:cxnChg>
      </pc:sldChg>
      <pc:sldChg chg="addSp delSp modSp mod">
        <pc:chgData name="Ito Koichi" userId="7c59a57e28e385d5" providerId="LiveId" clId="{7BE1A0C3-347C-9343-AD50-5497B70087AB}" dt="2022-03-15T02:55:47.114" v="10340"/>
        <pc:sldMkLst>
          <pc:docMk/>
          <pc:sldMk cId="2023954067" sldId="309"/>
        </pc:sldMkLst>
        <pc:spChg chg="mod">
          <ac:chgData name="Ito Koichi" userId="7c59a57e28e385d5" providerId="LiveId" clId="{7BE1A0C3-347C-9343-AD50-5497B70087AB}" dt="2022-02-03T13:48:45.136" v="6388"/>
          <ac:spMkLst>
            <pc:docMk/>
            <pc:sldMk cId="2023954067" sldId="309"/>
            <ac:spMk id="2" creationId="{18C0CF12-81D5-0D4F-A24F-3BAC5546F0A4}"/>
          </ac:spMkLst>
        </pc:spChg>
        <pc:spChg chg="mod">
          <ac:chgData name="Ito Koichi" userId="7c59a57e28e385d5" providerId="LiveId" clId="{7BE1A0C3-347C-9343-AD50-5497B70087AB}" dt="2022-02-03T13:44:30.979" v="6187" actId="20577"/>
          <ac:spMkLst>
            <pc:docMk/>
            <pc:sldMk cId="2023954067" sldId="309"/>
            <ac:spMk id="9" creationId="{11AE8FD6-28B8-E047-BDD4-CA697AEDA5F6}"/>
          </ac:spMkLst>
        </pc:spChg>
        <pc:spChg chg="add mod">
          <ac:chgData name="Ito Koichi" userId="7c59a57e28e385d5" providerId="LiveId" clId="{7BE1A0C3-347C-9343-AD50-5497B70087AB}" dt="2022-02-04T12:13:44.614" v="6619" actId="1076"/>
          <ac:spMkLst>
            <pc:docMk/>
            <pc:sldMk cId="2023954067" sldId="309"/>
            <ac:spMk id="10" creationId="{C8182ED3-6F7C-E745-8DE3-556B6469DAB5}"/>
          </ac:spMkLst>
        </pc:spChg>
        <pc:spChg chg="add mod">
          <ac:chgData name="Ito Koichi" userId="7c59a57e28e385d5" providerId="LiveId" clId="{7BE1A0C3-347C-9343-AD50-5497B70087AB}" dt="2022-03-15T02:55:47.114" v="10340"/>
          <ac:spMkLst>
            <pc:docMk/>
            <pc:sldMk cId="2023954067" sldId="309"/>
            <ac:spMk id="11" creationId="{E50EADCA-CE8B-D24B-A647-60C021402BD5}"/>
          </ac:spMkLst>
        </pc:spChg>
        <pc:picChg chg="add mod">
          <ac:chgData name="Ito Koichi" userId="7c59a57e28e385d5" providerId="LiveId" clId="{7BE1A0C3-347C-9343-AD50-5497B70087AB}" dt="2022-02-04T12:15:09.361" v="6632" actId="1076"/>
          <ac:picMkLst>
            <pc:docMk/>
            <pc:sldMk cId="2023954067" sldId="309"/>
            <ac:picMk id="14" creationId="{D1F5D850-FCC4-8D4C-91A0-9DFA814FEB34}"/>
          </ac:picMkLst>
        </pc:picChg>
        <pc:picChg chg="add mod">
          <ac:chgData name="Ito Koichi" userId="7c59a57e28e385d5" providerId="LiveId" clId="{7BE1A0C3-347C-9343-AD50-5497B70087AB}" dt="2022-02-04T12:14:43.592" v="6627" actId="1076"/>
          <ac:picMkLst>
            <pc:docMk/>
            <pc:sldMk cId="2023954067" sldId="309"/>
            <ac:picMk id="16" creationId="{7274D8B4-B818-4B44-B2D7-6139C6F73BA2}"/>
          </ac:picMkLst>
        </pc:picChg>
        <pc:picChg chg="add mod">
          <ac:chgData name="Ito Koichi" userId="7c59a57e28e385d5" providerId="LiveId" clId="{7BE1A0C3-347C-9343-AD50-5497B70087AB}" dt="2022-02-04T12:15:23.109" v="6636" actId="1076"/>
          <ac:picMkLst>
            <pc:docMk/>
            <pc:sldMk cId="2023954067" sldId="309"/>
            <ac:picMk id="18" creationId="{5DC01CDA-C748-284C-8B5F-0D819D4E8FB6}"/>
          </ac:picMkLst>
        </pc:picChg>
        <pc:cxnChg chg="add del mod">
          <ac:chgData name="Ito Koichi" userId="7c59a57e28e385d5" providerId="LiveId" clId="{7BE1A0C3-347C-9343-AD50-5497B70087AB}" dt="2022-02-04T12:12:54.306" v="6613" actId="478"/>
          <ac:cxnSpMkLst>
            <pc:docMk/>
            <pc:sldMk cId="2023954067" sldId="309"/>
            <ac:cxnSpMk id="12" creationId="{55E8321F-8D59-7C40-BD47-E016E36181DD}"/>
          </ac:cxnSpMkLst>
        </pc:cxnChg>
        <pc:cxnChg chg="add mod">
          <ac:chgData name="Ito Koichi" userId="7c59a57e28e385d5" providerId="LiveId" clId="{7BE1A0C3-347C-9343-AD50-5497B70087AB}" dt="2022-02-04T12:13:06.078" v="6615" actId="14100"/>
          <ac:cxnSpMkLst>
            <pc:docMk/>
            <pc:sldMk cId="2023954067" sldId="309"/>
            <ac:cxnSpMk id="13" creationId="{A017306C-F8F0-B04F-A118-EB7ADEBE332F}"/>
          </ac:cxnSpMkLst>
        </pc:cxnChg>
      </pc:sldChg>
      <pc:sldChg chg="modSp add del mod">
        <pc:chgData name="Ito Koichi" userId="7c59a57e28e385d5" providerId="LiveId" clId="{7BE1A0C3-347C-9343-AD50-5497B70087AB}" dt="2022-02-04T12:12:16.543" v="6608" actId="2696"/>
        <pc:sldMkLst>
          <pc:docMk/>
          <pc:sldMk cId="1600302138" sldId="310"/>
        </pc:sldMkLst>
        <pc:spChg chg="mod">
          <ac:chgData name="Ito Koichi" userId="7c59a57e28e385d5" providerId="LiveId" clId="{7BE1A0C3-347C-9343-AD50-5497B70087AB}" dt="2022-02-03T13:48:47.174" v="6389"/>
          <ac:spMkLst>
            <pc:docMk/>
            <pc:sldMk cId="1600302138" sldId="310"/>
            <ac:spMk id="2" creationId="{18C0CF12-81D5-0D4F-A24F-3BAC5546F0A4}"/>
          </ac:spMkLst>
        </pc:spChg>
        <pc:spChg chg="mod">
          <ac:chgData name="Ito Koichi" userId="7c59a57e28e385d5" providerId="LiveId" clId="{7BE1A0C3-347C-9343-AD50-5497B70087AB}" dt="2022-02-03T13:45:47.106" v="6278" actId="20577"/>
          <ac:spMkLst>
            <pc:docMk/>
            <pc:sldMk cId="1600302138" sldId="310"/>
            <ac:spMk id="7" creationId="{726EACEF-83EB-C249-AEE0-7E735D27208C}"/>
          </ac:spMkLst>
        </pc:spChg>
        <pc:spChg chg="mod">
          <ac:chgData name="Ito Koichi" userId="7c59a57e28e385d5" providerId="LiveId" clId="{7BE1A0C3-347C-9343-AD50-5497B70087AB}" dt="2022-02-03T13:45:05.489" v="6192"/>
          <ac:spMkLst>
            <pc:docMk/>
            <pc:sldMk cId="1600302138" sldId="310"/>
            <ac:spMk id="9" creationId="{11AE8FD6-28B8-E047-BDD4-CA697AEDA5F6}"/>
          </ac:spMkLst>
        </pc:spChg>
      </pc:sldChg>
      <pc:sldChg chg="modSp new mod">
        <pc:chgData name="Ito Koichi" userId="7c59a57e28e385d5" providerId="LiveId" clId="{7BE1A0C3-347C-9343-AD50-5497B70087AB}" dt="2022-02-03T13:50:34.846" v="6459"/>
        <pc:sldMkLst>
          <pc:docMk/>
          <pc:sldMk cId="3140862157" sldId="311"/>
        </pc:sldMkLst>
        <pc:spChg chg="mod">
          <ac:chgData name="Ito Koichi" userId="7c59a57e28e385d5" providerId="LiveId" clId="{7BE1A0C3-347C-9343-AD50-5497B70087AB}" dt="2022-02-03T13:50:11.507" v="6457"/>
          <ac:spMkLst>
            <pc:docMk/>
            <pc:sldMk cId="3140862157" sldId="311"/>
            <ac:spMk id="2" creationId="{4EF2E5EE-3E6D-E043-82F8-0E98C0C5F99C}"/>
          </ac:spMkLst>
        </pc:spChg>
        <pc:spChg chg="mod">
          <ac:chgData name="Ito Koichi" userId="7c59a57e28e385d5" providerId="LiveId" clId="{7BE1A0C3-347C-9343-AD50-5497B70087AB}" dt="2022-02-03T13:50:04.645" v="6456" actId="113"/>
          <ac:spMkLst>
            <pc:docMk/>
            <pc:sldMk cId="3140862157" sldId="311"/>
            <ac:spMk id="3" creationId="{AB4B53C1-FD5C-784E-9B1E-73961C0063D4}"/>
          </ac:spMkLst>
        </pc:spChg>
        <pc:spChg chg="mod">
          <ac:chgData name="Ito Koichi" userId="7c59a57e28e385d5" providerId="LiveId" clId="{7BE1A0C3-347C-9343-AD50-5497B70087AB}" dt="2022-02-03T13:50:34.846" v="6459"/>
          <ac:spMkLst>
            <pc:docMk/>
            <pc:sldMk cId="3140862157" sldId="311"/>
            <ac:spMk id="4" creationId="{D37AB2B9-F697-2C47-9A45-DE521ADE5D14}"/>
          </ac:spMkLst>
        </pc:spChg>
      </pc:sldChg>
      <pc:sldChg chg="modSp add mod">
        <pc:chgData name="Ito Koichi" userId="7c59a57e28e385d5" providerId="LiveId" clId="{7BE1A0C3-347C-9343-AD50-5497B70087AB}" dt="2022-02-03T13:50:57.044" v="6477" actId="20577"/>
        <pc:sldMkLst>
          <pc:docMk/>
          <pc:sldMk cId="386681203" sldId="312"/>
        </pc:sldMkLst>
        <pc:spChg chg="mod">
          <ac:chgData name="Ito Koichi" userId="7c59a57e28e385d5" providerId="LiveId" clId="{7BE1A0C3-347C-9343-AD50-5497B70087AB}" dt="2022-02-03T13:50:57.044" v="6477" actId="20577"/>
          <ac:spMkLst>
            <pc:docMk/>
            <pc:sldMk cId="386681203" sldId="312"/>
            <ac:spMk id="3" creationId="{AB4B53C1-FD5C-784E-9B1E-73961C0063D4}"/>
          </ac:spMkLst>
        </pc:spChg>
      </pc:sldChg>
      <pc:sldChg chg="addSp delSp modSp add mod">
        <pc:chgData name="Ito Koichi" userId="7c59a57e28e385d5" providerId="LiveId" clId="{7BE1A0C3-347C-9343-AD50-5497B70087AB}" dt="2022-02-04T12:16:05.747" v="6646" actId="20577"/>
        <pc:sldMkLst>
          <pc:docMk/>
          <pc:sldMk cId="2440085736" sldId="313"/>
        </pc:sldMkLst>
        <pc:spChg chg="mod">
          <ac:chgData name="Ito Koichi" userId="7c59a57e28e385d5" providerId="LiveId" clId="{7BE1A0C3-347C-9343-AD50-5497B70087AB}" dt="2022-02-04T12:15:51.876" v="6639" actId="1076"/>
          <ac:spMkLst>
            <pc:docMk/>
            <pc:sldMk cId="2440085736" sldId="313"/>
            <ac:spMk id="7" creationId="{726EACEF-83EB-C249-AEE0-7E735D27208C}"/>
          </ac:spMkLst>
        </pc:spChg>
        <pc:spChg chg="mod">
          <ac:chgData name="Ito Koichi" userId="7c59a57e28e385d5" providerId="LiveId" clId="{7BE1A0C3-347C-9343-AD50-5497B70087AB}" dt="2022-02-03T13:52:25.859" v="6512"/>
          <ac:spMkLst>
            <pc:docMk/>
            <pc:sldMk cId="2440085736" sldId="313"/>
            <ac:spMk id="9" creationId="{11AE8FD6-28B8-E047-BDD4-CA697AEDA5F6}"/>
          </ac:spMkLst>
        </pc:spChg>
        <pc:spChg chg="add del mod">
          <ac:chgData name="Ito Koichi" userId="7c59a57e28e385d5" providerId="LiveId" clId="{7BE1A0C3-347C-9343-AD50-5497B70087AB}" dt="2022-02-04T12:15:52.886" v="6640"/>
          <ac:spMkLst>
            <pc:docMk/>
            <pc:sldMk cId="2440085736" sldId="313"/>
            <ac:spMk id="10" creationId="{1D3AD051-9A6D-9A46-B0EB-F4E035D394D1}"/>
          </ac:spMkLst>
        </pc:spChg>
        <pc:spChg chg="add del mod">
          <ac:chgData name="Ito Koichi" userId="7c59a57e28e385d5" providerId="LiveId" clId="{7BE1A0C3-347C-9343-AD50-5497B70087AB}" dt="2022-02-04T12:15:52.886" v="6640"/>
          <ac:spMkLst>
            <pc:docMk/>
            <pc:sldMk cId="2440085736" sldId="313"/>
            <ac:spMk id="11" creationId="{C901C384-CF7B-AB4D-9542-ABD6597C086C}"/>
          </ac:spMkLst>
        </pc:spChg>
        <pc:spChg chg="add mod">
          <ac:chgData name="Ito Koichi" userId="7c59a57e28e385d5" providerId="LiveId" clId="{7BE1A0C3-347C-9343-AD50-5497B70087AB}" dt="2022-02-04T12:16:04.087" v="6644" actId="20577"/>
          <ac:spMkLst>
            <pc:docMk/>
            <pc:sldMk cId="2440085736" sldId="313"/>
            <ac:spMk id="12" creationId="{708DEEE8-48CD-DD4D-87E1-E1B6E2381ACA}"/>
          </ac:spMkLst>
        </pc:spChg>
        <pc:spChg chg="add mod">
          <ac:chgData name="Ito Koichi" userId="7c59a57e28e385d5" providerId="LiveId" clId="{7BE1A0C3-347C-9343-AD50-5497B70087AB}" dt="2022-02-04T12:16:05.747" v="6646" actId="20577"/>
          <ac:spMkLst>
            <pc:docMk/>
            <pc:sldMk cId="2440085736" sldId="313"/>
            <ac:spMk id="13" creationId="{B69B7CA0-10C4-8B4F-8598-EDAF43DB7386}"/>
          </ac:spMkLst>
        </pc:spChg>
      </pc:sldChg>
      <pc:sldChg chg="addSp delSp modSp add mod">
        <pc:chgData name="Ito Koichi" userId="7c59a57e28e385d5" providerId="LiveId" clId="{7BE1A0C3-347C-9343-AD50-5497B70087AB}" dt="2022-02-04T12:17:00.051" v="6657" actId="14826"/>
        <pc:sldMkLst>
          <pc:docMk/>
          <pc:sldMk cId="2561012292" sldId="314"/>
        </pc:sldMkLst>
        <pc:spChg chg="del mod">
          <ac:chgData name="Ito Koichi" userId="7c59a57e28e385d5" providerId="LiveId" clId="{7BE1A0C3-347C-9343-AD50-5497B70087AB}" dt="2022-02-04T12:16:12.551" v="6647" actId="478"/>
          <ac:spMkLst>
            <pc:docMk/>
            <pc:sldMk cId="2561012292" sldId="314"/>
            <ac:spMk id="7" creationId="{726EACEF-83EB-C249-AEE0-7E735D27208C}"/>
          </ac:spMkLst>
        </pc:spChg>
        <pc:spChg chg="del mod">
          <ac:chgData name="Ito Koichi" userId="7c59a57e28e385d5" providerId="LiveId" clId="{7BE1A0C3-347C-9343-AD50-5497B70087AB}" dt="2022-02-04T12:16:15.049" v="6648" actId="478"/>
          <ac:spMkLst>
            <pc:docMk/>
            <pc:sldMk cId="2561012292" sldId="314"/>
            <ac:spMk id="9" creationId="{11AE8FD6-28B8-E047-BDD4-CA697AEDA5F6}"/>
          </ac:spMkLst>
        </pc:spChg>
        <pc:spChg chg="add mod">
          <ac:chgData name="Ito Koichi" userId="7c59a57e28e385d5" providerId="LiveId" clId="{7BE1A0C3-347C-9343-AD50-5497B70087AB}" dt="2022-02-04T12:16:31.398" v="6656" actId="20577"/>
          <ac:spMkLst>
            <pc:docMk/>
            <pc:sldMk cId="2561012292" sldId="314"/>
            <ac:spMk id="10" creationId="{84AA9DB6-51F3-E84E-879E-D59C8DF5ACE8}"/>
          </ac:spMkLst>
        </pc:spChg>
        <pc:picChg chg="add mod">
          <ac:chgData name="Ito Koichi" userId="7c59a57e28e385d5" providerId="LiveId" clId="{7BE1A0C3-347C-9343-AD50-5497B70087AB}" dt="2022-02-04T12:17:00.051" v="6657" actId="14826"/>
          <ac:picMkLst>
            <pc:docMk/>
            <pc:sldMk cId="2561012292" sldId="314"/>
            <ac:picMk id="11" creationId="{DAEA8939-905E-F840-A91D-9AB4C2A2158E}"/>
          </ac:picMkLst>
        </pc:picChg>
        <pc:cxnChg chg="del">
          <ac:chgData name="Ito Koichi" userId="7c59a57e28e385d5" providerId="LiveId" clId="{7BE1A0C3-347C-9343-AD50-5497B70087AB}" dt="2022-02-04T12:16:15.830" v="6649" actId="478"/>
          <ac:cxnSpMkLst>
            <pc:docMk/>
            <pc:sldMk cId="2561012292" sldId="314"/>
            <ac:cxnSpMk id="8" creationId="{A58C18FD-2B03-F642-8729-838FF160FC40}"/>
          </ac:cxnSpMkLst>
        </pc:cxnChg>
      </pc:sldChg>
      <pc:sldChg chg="modSp add mod">
        <pc:chgData name="Ito Koichi" userId="7c59a57e28e385d5" providerId="LiveId" clId="{7BE1A0C3-347C-9343-AD50-5497B70087AB}" dt="2022-02-06T08:17:56.947" v="8909" actId="20577"/>
        <pc:sldMkLst>
          <pc:docMk/>
          <pc:sldMk cId="2819303272" sldId="315"/>
        </pc:sldMkLst>
        <pc:spChg chg="mod">
          <ac:chgData name="Ito Koichi" userId="7c59a57e28e385d5" providerId="LiveId" clId="{7BE1A0C3-347C-9343-AD50-5497B70087AB}" dt="2022-02-04T12:04:32.958" v="6578"/>
          <ac:spMkLst>
            <pc:docMk/>
            <pc:sldMk cId="2819303272" sldId="315"/>
            <ac:spMk id="2" creationId="{500B4985-5844-4EB1-9DE5-6177B9061EB1}"/>
          </ac:spMkLst>
        </pc:spChg>
        <pc:spChg chg="mod">
          <ac:chgData name="Ito Koichi" userId="7c59a57e28e385d5" providerId="LiveId" clId="{7BE1A0C3-347C-9343-AD50-5497B70087AB}" dt="2022-02-06T08:17:38.961" v="8869" actId="20577"/>
          <ac:spMkLst>
            <pc:docMk/>
            <pc:sldMk cId="2819303272" sldId="315"/>
            <ac:spMk id="3" creationId="{9BD1DEA5-3A2E-4FD9-9036-60D3104EA00D}"/>
          </ac:spMkLst>
        </pc:spChg>
        <pc:spChg chg="mod">
          <ac:chgData name="Ito Koichi" userId="7c59a57e28e385d5" providerId="LiveId" clId="{7BE1A0C3-347C-9343-AD50-5497B70087AB}" dt="2022-02-06T08:17:56.947" v="8909" actId="20577"/>
          <ac:spMkLst>
            <pc:docMk/>
            <pc:sldMk cId="2819303272" sldId="315"/>
            <ac:spMk id="4" creationId="{D23673E8-12C1-4920-980E-880DA27CB9D6}"/>
          </ac:spMkLst>
        </pc:spChg>
      </pc:sldChg>
      <pc:sldChg chg="modSp add mod">
        <pc:chgData name="Ito Koichi" userId="7c59a57e28e385d5" providerId="LiveId" clId="{7BE1A0C3-347C-9343-AD50-5497B70087AB}" dt="2022-02-04T12:35:23.629" v="6665" actId="20577"/>
        <pc:sldMkLst>
          <pc:docMk/>
          <pc:sldMk cId="1780522131" sldId="316"/>
        </pc:sldMkLst>
        <pc:spChg chg="mod">
          <ac:chgData name="Ito Koichi" userId="7c59a57e28e385d5" providerId="LiveId" clId="{7BE1A0C3-347C-9343-AD50-5497B70087AB}" dt="2022-02-04T12:35:23.629" v="6665" actId="20577"/>
          <ac:spMkLst>
            <pc:docMk/>
            <pc:sldMk cId="1780522131" sldId="316"/>
            <ac:spMk id="3" creationId="{B894210C-9002-4DA4-9DD8-4CF05F405920}"/>
          </ac:spMkLst>
        </pc:spChg>
      </pc:sldChg>
      <pc:sldChg chg="addSp delSp modSp add mod">
        <pc:chgData name="Ito Koichi" userId="7c59a57e28e385d5" providerId="LiveId" clId="{7BE1A0C3-347C-9343-AD50-5497B70087AB}" dt="2022-02-04T12:39:21.162" v="6757"/>
        <pc:sldMkLst>
          <pc:docMk/>
          <pc:sldMk cId="1714892408" sldId="317"/>
        </pc:sldMkLst>
        <pc:spChg chg="mod">
          <ac:chgData name="Ito Koichi" userId="7c59a57e28e385d5" providerId="LiveId" clId="{7BE1A0C3-347C-9343-AD50-5497B70087AB}" dt="2022-02-04T12:37:53.476" v="6688"/>
          <ac:spMkLst>
            <pc:docMk/>
            <pc:sldMk cId="1714892408" sldId="317"/>
            <ac:spMk id="2" creationId="{18C0CF12-81D5-0D4F-A24F-3BAC5546F0A4}"/>
          </ac:spMkLst>
        </pc:spChg>
        <pc:spChg chg="add del mod">
          <ac:chgData name="Ito Koichi" userId="7c59a57e28e385d5" providerId="LiveId" clId="{7BE1A0C3-347C-9343-AD50-5497B70087AB}" dt="2022-02-04T12:39:21.162" v="6757"/>
          <ac:spMkLst>
            <pc:docMk/>
            <pc:sldMk cId="1714892408" sldId="317"/>
            <ac:spMk id="7" creationId="{5A21C86D-572E-C941-BCC9-D7610E41E63A}"/>
          </ac:spMkLst>
        </pc:spChg>
        <pc:spChg chg="add mod">
          <ac:chgData name="Ito Koichi" userId="7c59a57e28e385d5" providerId="LiveId" clId="{7BE1A0C3-347C-9343-AD50-5497B70087AB}" dt="2022-02-04T12:39:16.889" v="6755"/>
          <ac:spMkLst>
            <pc:docMk/>
            <pc:sldMk cId="1714892408" sldId="317"/>
            <ac:spMk id="9" creationId="{79F9DC4F-41D5-0F4D-881B-2B30DE10BD2A}"/>
          </ac:spMkLst>
        </pc:spChg>
        <pc:spChg chg="mod">
          <ac:chgData name="Ito Koichi" userId="7c59a57e28e385d5" providerId="LiveId" clId="{7BE1A0C3-347C-9343-AD50-5497B70087AB}" dt="2022-02-04T12:38:21.658" v="6700" actId="20577"/>
          <ac:spMkLst>
            <pc:docMk/>
            <pc:sldMk cId="1714892408" sldId="317"/>
            <ac:spMk id="10" creationId="{84AA9DB6-51F3-E84E-879E-D59C8DF5ACE8}"/>
          </ac:spMkLst>
        </pc:spChg>
        <pc:picChg chg="add mod">
          <ac:chgData name="Ito Koichi" userId="7c59a57e28e385d5" providerId="LiveId" clId="{7BE1A0C3-347C-9343-AD50-5497B70087AB}" dt="2022-02-04T12:38:41.803" v="6706" actId="1076"/>
          <ac:picMkLst>
            <pc:docMk/>
            <pc:sldMk cId="1714892408" sldId="317"/>
            <ac:picMk id="6" creationId="{8DC8AD0A-2EE5-D241-9F54-6C8C83EDA250}"/>
          </ac:picMkLst>
        </pc:picChg>
        <pc:picChg chg="del">
          <ac:chgData name="Ito Koichi" userId="7c59a57e28e385d5" providerId="LiveId" clId="{7BE1A0C3-347C-9343-AD50-5497B70087AB}" dt="2022-02-04T12:38:29.815" v="6701" actId="478"/>
          <ac:picMkLst>
            <pc:docMk/>
            <pc:sldMk cId="1714892408" sldId="317"/>
            <ac:picMk id="11" creationId="{DAEA8939-905E-F840-A91D-9AB4C2A2158E}"/>
          </ac:picMkLst>
        </pc:picChg>
      </pc:sldChg>
      <pc:sldChg chg="addSp delSp modSp add mod">
        <pc:chgData name="Ito Koichi" userId="7c59a57e28e385d5" providerId="LiveId" clId="{7BE1A0C3-347C-9343-AD50-5497B70087AB}" dt="2022-02-04T12:41:31.658" v="6803" actId="20577"/>
        <pc:sldMkLst>
          <pc:docMk/>
          <pc:sldMk cId="710596042" sldId="318"/>
        </pc:sldMkLst>
        <pc:spChg chg="mod">
          <ac:chgData name="Ito Koichi" userId="7c59a57e28e385d5" providerId="LiveId" clId="{7BE1A0C3-347C-9343-AD50-5497B70087AB}" dt="2022-02-04T12:40:27.017" v="6761"/>
          <ac:spMkLst>
            <pc:docMk/>
            <pc:sldMk cId="710596042" sldId="318"/>
            <ac:spMk id="2" creationId="{18C0CF12-81D5-0D4F-A24F-3BAC5546F0A4}"/>
          </ac:spMkLst>
        </pc:spChg>
        <pc:spChg chg="mod">
          <ac:chgData name="Ito Koichi" userId="7c59a57e28e385d5" providerId="LiveId" clId="{7BE1A0C3-347C-9343-AD50-5497B70087AB}" dt="2022-02-04T12:41:31.658" v="6803" actId="20577"/>
          <ac:spMkLst>
            <pc:docMk/>
            <pc:sldMk cId="710596042" sldId="318"/>
            <ac:spMk id="9" creationId="{79F9DC4F-41D5-0F4D-881B-2B30DE10BD2A}"/>
          </ac:spMkLst>
        </pc:spChg>
        <pc:spChg chg="del">
          <ac:chgData name="Ito Koichi" userId="7c59a57e28e385d5" providerId="LiveId" clId="{7BE1A0C3-347C-9343-AD50-5497B70087AB}" dt="2022-02-04T12:40:44.634" v="6764" actId="478"/>
          <ac:spMkLst>
            <pc:docMk/>
            <pc:sldMk cId="710596042" sldId="318"/>
            <ac:spMk id="10" creationId="{84AA9DB6-51F3-E84E-879E-D59C8DF5ACE8}"/>
          </ac:spMkLst>
        </pc:spChg>
        <pc:picChg chg="add mod modCrop">
          <ac:chgData name="Ito Koichi" userId="7c59a57e28e385d5" providerId="LiveId" clId="{7BE1A0C3-347C-9343-AD50-5497B70087AB}" dt="2022-02-04T12:40:58.366" v="6768" actId="1076"/>
          <ac:picMkLst>
            <pc:docMk/>
            <pc:sldMk cId="710596042" sldId="318"/>
            <ac:picMk id="3" creationId="{59F03D15-36B5-534B-87E1-6AAA47A10A49}"/>
          </ac:picMkLst>
        </pc:picChg>
        <pc:picChg chg="del">
          <ac:chgData name="Ito Koichi" userId="7c59a57e28e385d5" providerId="LiveId" clId="{7BE1A0C3-347C-9343-AD50-5497B70087AB}" dt="2022-02-04T12:40:46.939" v="6766" actId="478"/>
          <ac:picMkLst>
            <pc:docMk/>
            <pc:sldMk cId="710596042" sldId="318"/>
            <ac:picMk id="6" creationId="{8DC8AD0A-2EE5-D241-9F54-6C8C83EDA250}"/>
          </ac:picMkLst>
        </pc:picChg>
      </pc:sldChg>
      <pc:sldChg chg="addSp delSp modSp add mod">
        <pc:chgData name="Ito Koichi" userId="7c59a57e28e385d5" providerId="LiveId" clId="{7BE1A0C3-347C-9343-AD50-5497B70087AB}" dt="2022-02-04T12:44:12.685" v="6866" actId="1076"/>
        <pc:sldMkLst>
          <pc:docMk/>
          <pc:sldMk cId="774777105" sldId="319"/>
        </pc:sldMkLst>
        <pc:spChg chg="mod">
          <ac:chgData name="Ito Koichi" userId="7c59a57e28e385d5" providerId="LiveId" clId="{7BE1A0C3-347C-9343-AD50-5497B70087AB}" dt="2022-02-04T12:42:18.685" v="6806" actId="20577"/>
          <ac:spMkLst>
            <pc:docMk/>
            <pc:sldMk cId="774777105" sldId="319"/>
            <ac:spMk id="2" creationId="{18C0CF12-81D5-0D4F-A24F-3BAC5546F0A4}"/>
          </ac:spMkLst>
        </pc:spChg>
        <pc:spChg chg="mod">
          <ac:chgData name="Ito Koichi" userId="7c59a57e28e385d5" providerId="LiveId" clId="{7BE1A0C3-347C-9343-AD50-5497B70087AB}" dt="2022-02-04T12:44:12.685" v="6866" actId="1076"/>
          <ac:spMkLst>
            <pc:docMk/>
            <pc:sldMk cId="774777105" sldId="319"/>
            <ac:spMk id="9" creationId="{79F9DC4F-41D5-0F4D-881B-2B30DE10BD2A}"/>
          </ac:spMkLst>
        </pc:spChg>
        <pc:picChg chg="del">
          <ac:chgData name="Ito Koichi" userId="7c59a57e28e385d5" providerId="LiveId" clId="{7BE1A0C3-347C-9343-AD50-5497B70087AB}" dt="2022-02-04T12:43:44.009" v="6861" actId="478"/>
          <ac:picMkLst>
            <pc:docMk/>
            <pc:sldMk cId="774777105" sldId="319"/>
            <ac:picMk id="3" creationId="{59F03D15-36B5-534B-87E1-6AAA47A10A49}"/>
          </ac:picMkLst>
        </pc:picChg>
        <pc:picChg chg="add mod modCrop">
          <ac:chgData name="Ito Koichi" userId="7c59a57e28e385d5" providerId="LiveId" clId="{7BE1A0C3-347C-9343-AD50-5497B70087AB}" dt="2022-02-04T12:44:06.037" v="6865" actId="1076"/>
          <ac:picMkLst>
            <pc:docMk/>
            <pc:sldMk cId="774777105" sldId="319"/>
            <ac:picMk id="6" creationId="{81E17AF5-A4C7-FF45-BFD1-0901AA2F9107}"/>
          </ac:picMkLst>
        </pc:picChg>
      </pc:sldChg>
      <pc:sldChg chg="addSp delSp modSp add mod">
        <pc:chgData name="Ito Koichi" userId="7c59a57e28e385d5" providerId="LiveId" clId="{7BE1A0C3-347C-9343-AD50-5497B70087AB}" dt="2022-02-04T13:04:19.196" v="6936" actId="20577"/>
        <pc:sldMkLst>
          <pc:docMk/>
          <pc:sldMk cId="1800250114" sldId="320"/>
        </pc:sldMkLst>
        <pc:spChg chg="mod">
          <ac:chgData name="Ito Koichi" userId="7c59a57e28e385d5" providerId="LiveId" clId="{7BE1A0C3-347C-9343-AD50-5497B70087AB}" dt="2022-02-04T13:01:31.508" v="6880" actId="20577"/>
          <ac:spMkLst>
            <pc:docMk/>
            <pc:sldMk cId="1800250114" sldId="320"/>
            <ac:spMk id="2" creationId="{18C0CF12-81D5-0D4F-A24F-3BAC5546F0A4}"/>
          </ac:spMkLst>
        </pc:spChg>
        <pc:spChg chg="add del mod">
          <ac:chgData name="Ito Koichi" userId="7c59a57e28e385d5" providerId="LiveId" clId="{7BE1A0C3-347C-9343-AD50-5497B70087AB}" dt="2022-02-04T13:04:19.196" v="6936" actId="20577"/>
          <ac:spMkLst>
            <pc:docMk/>
            <pc:sldMk cId="1800250114" sldId="320"/>
            <ac:spMk id="9" creationId="{79F9DC4F-41D5-0F4D-881B-2B30DE10BD2A}"/>
          </ac:spMkLst>
        </pc:spChg>
        <pc:picChg chg="add mod">
          <ac:chgData name="Ito Koichi" userId="7c59a57e28e385d5" providerId="LiveId" clId="{7BE1A0C3-347C-9343-AD50-5497B70087AB}" dt="2022-02-04T13:03:30.200" v="6917" actId="1076"/>
          <ac:picMkLst>
            <pc:docMk/>
            <pc:sldMk cId="1800250114" sldId="320"/>
            <ac:picMk id="3" creationId="{5619E4FD-92AE-484C-8CC0-FDF9E2B04DC4}"/>
          </ac:picMkLst>
        </pc:picChg>
        <pc:picChg chg="del">
          <ac:chgData name="Ito Koichi" userId="7c59a57e28e385d5" providerId="LiveId" clId="{7BE1A0C3-347C-9343-AD50-5497B70087AB}" dt="2022-02-04T13:01:44.801" v="6881" actId="478"/>
          <ac:picMkLst>
            <pc:docMk/>
            <pc:sldMk cId="1800250114" sldId="320"/>
            <ac:picMk id="6" creationId="{81E17AF5-A4C7-FF45-BFD1-0901AA2F9107}"/>
          </ac:picMkLst>
        </pc:picChg>
        <pc:picChg chg="add mod modCrop">
          <ac:chgData name="Ito Koichi" userId="7c59a57e28e385d5" providerId="LiveId" clId="{7BE1A0C3-347C-9343-AD50-5497B70087AB}" dt="2022-02-04T13:03:54.983" v="6924" actId="1076"/>
          <ac:picMkLst>
            <pc:docMk/>
            <pc:sldMk cId="1800250114" sldId="320"/>
            <ac:picMk id="7" creationId="{5EBE91E1-ACE1-9D4B-AD07-332EF096355D}"/>
          </ac:picMkLst>
        </pc:picChg>
      </pc:sldChg>
      <pc:sldChg chg="addSp delSp modSp add mod ord">
        <pc:chgData name="Ito Koichi" userId="7c59a57e28e385d5" providerId="LiveId" clId="{7BE1A0C3-347C-9343-AD50-5497B70087AB}" dt="2022-02-04T13:07:20.832" v="6987" actId="1076"/>
        <pc:sldMkLst>
          <pc:docMk/>
          <pc:sldMk cId="3081064406" sldId="321"/>
        </pc:sldMkLst>
        <pc:spChg chg="mod">
          <ac:chgData name="Ito Koichi" userId="7c59a57e28e385d5" providerId="LiveId" clId="{7BE1A0C3-347C-9343-AD50-5497B70087AB}" dt="2022-02-04T13:05:01.549" v="6953" actId="20577"/>
          <ac:spMkLst>
            <pc:docMk/>
            <pc:sldMk cId="3081064406" sldId="321"/>
            <ac:spMk id="2" creationId="{18C0CF12-81D5-0D4F-A24F-3BAC5546F0A4}"/>
          </ac:spMkLst>
        </pc:spChg>
        <pc:spChg chg="del">
          <ac:chgData name="Ito Koichi" userId="7c59a57e28e385d5" providerId="LiveId" clId="{7BE1A0C3-347C-9343-AD50-5497B70087AB}" dt="2022-02-04T13:06:27.163" v="6973" actId="478"/>
          <ac:spMkLst>
            <pc:docMk/>
            <pc:sldMk cId="3081064406" sldId="321"/>
            <ac:spMk id="9" creationId="{79F9DC4F-41D5-0F4D-881B-2B30DE10BD2A}"/>
          </ac:spMkLst>
        </pc:spChg>
        <pc:picChg chg="del">
          <ac:chgData name="Ito Koichi" userId="7c59a57e28e385d5" providerId="LiveId" clId="{7BE1A0C3-347C-9343-AD50-5497B70087AB}" dt="2022-02-04T13:05:06.095" v="6954" actId="478"/>
          <ac:picMkLst>
            <pc:docMk/>
            <pc:sldMk cId="3081064406" sldId="321"/>
            <ac:picMk id="3" creationId="{5619E4FD-92AE-484C-8CC0-FDF9E2B04DC4}"/>
          </ac:picMkLst>
        </pc:picChg>
        <pc:picChg chg="add mod modCrop">
          <ac:chgData name="Ito Koichi" userId="7c59a57e28e385d5" providerId="LiveId" clId="{7BE1A0C3-347C-9343-AD50-5497B70087AB}" dt="2022-02-04T13:07:17.046" v="6986" actId="1076"/>
          <ac:picMkLst>
            <pc:docMk/>
            <pc:sldMk cId="3081064406" sldId="321"/>
            <ac:picMk id="6" creationId="{1BAF81B3-6E65-6C49-8869-B9CCD8B92234}"/>
          </ac:picMkLst>
        </pc:picChg>
        <pc:picChg chg="del">
          <ac:chgData name="Ito Koichi" userId="7c59a57e28e385d5" providerId="LiveId" clId="{7BE1A0C3-347C-9343-AD50-5497B70087AB}" dt="2022-02-04T13:05:06.853" v="6955" actId="478"/>
          <ac:picMkLst>
            <pc:docMk/>
            <pc:sldMk cId="3081064406" sldId="321"/>
            <ac:picMk id="7" creationId="{5EBE91E1-ACE1-9D4B-AD07-332EF096355D}"/>
          </ac:picMkLst>
        </pc:picChg>
        <pc:picChg chg="add mod modCrop">
          <ac:chgData name="Ito Koichi" userId="7c59a57e28e385d5" providerId="LiveId" clId="{7BE1A0C3-347C-9343-AD50-5497B70087AB}" dt="2022-02-04T13:07:17.046" v="6986" actId="1076"/>
          <ac:picMkLst>
            <pc:docMk/>
            <pc:sldMk cId="3081064406" sldId="321"/>
            <ac:picMk id="8" creationId="{4CB7B670-80B9-6E40-AD73-7CF307833152}"/>
          </ac:picMkLst>
        </pc:picChg>
        <pc:picChg chg="add mod modCrop">
          <ac:chgData name="Ito Koichi" userId="7c59a57e28e385d5" providerId="LiveId" clId="{7BE1A0C3-347C-9343-AD50-5497B70087AB}" dt="2022-02-04T13:07:20.832" v="6987" actId="1076"/>
          <ac:picMkLst>
            <pc:docMk/>
            <pc:sldMk cId="3081064406" sldId="321"/>
            <ac:picMk id="10" creationId="{962404BD-FCB4-8E4A-823B-8AEBF3E3310F}"/>
          </ac:picMkLst>
        </pc:picChg>
      </pc:sldChg>
      <pc:sldChg chg="addSp delSp modSp add mod">
        <pc:chgData name="Ito Koichi" userId="7c59a57e28e385d5" providerId="LiveId" clId="{7BE1A0C3-347C-9343-AD50-5497B70087AB}" dt="2022-02-04T13:09:23.128" v="7005" actId="1076"/>
        <pc:sldMkLst>
          <pc:docMk/>
          <pc:sldMk cId="417170624" sldId="322"/>
        </pc:sldMkLst>
        <pc:spChg chg="mod">
          <ac:chgData name="Ito Koichi" userId="7c59a57e28e385d5" providerId="LiveId" clId="{7BE1A0C3-347C-9343-AD50-5497B70087AB}" dt="2022-02-04T13:09:19.030" v="7004" actId="1076"/>
          <ac:spMkLst>
            <pc:docMk/>
            <pc:sldMk cId="417170624" sldId="322"/>
            <ac:spMk id="9" creationId="{79F9DC4F-41D5-0F4D-881B-2B30DE10BD2A}"/>
          </ac:spMkLst>
        </pc:spChg>
        <pc:picChg chg="del">
          <ac:chgData name="Ito Koichi" userId="7c59a57e28e385d5" providerId="LiveId" clId="{7BE1A0C3-347C-9343-AD50-5497B70087AB}" dt="2022-02-04T13:08:10.920" v="6989" actId="478"/>
          <ac:picMkLst>
            <pc:docMk/>
            <pc:sldMk cId="417170624" sldId="322"/>
            <ac:picMk id="3" creationId="{5619E4FD-92AE-484C-8CC0-FDF9E2B04DC4}"/>
          </ac:picMkLst>
        </pc:picChg>
        <pc:picChg chg="add mod modCrop">
          <ac:chgData name="Ito Koichi" userId="7c59a57e28e385d5" providerId="LiveId" clId="{7BE1A0C3-347C-9343-AD50-5497B70087AB}" dt="2022-02-04T13:09:13.078" v="7003" actId="1076"/>
          <ac:picMkLst>
            <pc:docMk/>
            <pc:sldMk cId="417170624" sldId="322"/>
            <ac:picMk id="6" creationId="{747D641F-D74B-264D-AFAB-0F868C52A051}"/>
          </ac:picMkLst>
        </pc:picChg>
        <pc:picChg chg="del">
          <ac:chgData name="Ito Koichi" userId="7c59a57e28e385d5" providerId="LiveId" clId="{7BE1A0C3-347C-9343-AD50-5497B70087AB}" dt="2022-02-04T13:08:10.920" v="6989" actId="478"/>
          <ac:picMkLst>
            <pc:docMk/>
            <pc:sldMk cId="417170624" sldId="322"/>
            <ac:picMk id="7" creationId="{5EBE91E1-ACE1-9D4B-AD07-332EF096355D}"/>
          </ac:picMkLst>
        </pc:picChg>
        <pc:picChg chg="add mod modCrop">
          <ac:chgData name="Ito Koichi" userId="7c59a57e28e385d5" providerId="LiveId" clId="{7BE1A0C3-347C-9343-AD50-5497B70087AB}" dt="2022-02-04T13:09:23.128" v="7005" actId="1076"/>
          <ac:picMkLst>
            <pc:docMk/>
            <pc:sldMk cId="417170624" sldId="322"/>
            <ac:picMk id="8" creationId="{773FFC7F-0625-0F40-A4DD-18B7D5023FA9}"/>
          </ac:picMkLst>
        </pc:picChg>
      </pc:sldChg>
      <pc:sldChg chg="addSp delSp modSp add mod">
        <pc:chgData name="Ito Koichi" userId="7c59a57e28e385d5" providerId="LiveId" clId="{7BE1A0C3-347C-9343-AD50-5497B70087AB}" dt="2022-02-04T13:36:46.315" v="7156" actId="22"/>
        <pc:sldMkLst>
          <pc:docMk/>
          <pc:sldMk cId="924304825" sldId="323"/>
        </pc:sldMkLst>
        <pc:spChg chg="mod">
          <ac:chgData name="Ito Koichi" userId="7c59a57e28e385d5" providerId="LiveId" clId="{7BE1A0C3-347C-9343-AD50-5497B70087AB}" dt="2022-02-04T13:30:11.584" v="7082"/>
          <ac:spMkLst>
            <pc:docMk/>
            <pc:sldMk cId="924304825" sldId="323"/>
            <ac:spMk id="2" creationId="{18C0CF12-81D5-0D4F-A24F-3BAC5546F0A4}"/>
          </ac:spMkLst>
        </pc:spChg>
        <pc:spChg chg="mod">
          <ac:chgData name="Ito Koichi" userId="7c59a57e28e385d5" providerId="LiveId" clId="{7BE1A0C3-347C-9343-AD50-5497B70087AB}" dt="2022-02-04T13:30:39.862" v="7091"/>
          <ac:spMkLst>
            <pc:docMk/>
            <pc:sldMk cId="924304825" sldId="323"/>
            <ac:spMk id="4" creationId="{2A7FA2F4-A8DC-3A46-A576-9E9F2FF8A7B4}"/>
          </ac:spMkLst>
        </pc:spChg>
        <pc:spChg chg="mod">
          <ac:chgData name="Ito Koichi" userId="7c59a57e28e385d5" providerId="LiveId" clId="{7BE1A0C3-347C-9343-AD50-5497B70087AB}" dt="2022-02-04T13:29:12.606" v="7075" actId="122"/>
          <ac:spMkLst>
            <pc:docMk/>
            <pc:sldMk cId="924304825" sldId="323"/>
            <ac:spMk id="9" creationId="{79F9DC4F-41D5-0F4D-881B-2B30DE10BD2A}"/>
          </ac:spMkLst>
        </pc:spChg>
        <pc:spChg chg="add mod">
          <ac:chgData name="Ito Koichi" userId="7c59a57e28e385d5" providerId="LiveId" clId="{7BE1A0C3-347C-9343-AD50-5497B70087AB}" dt="2022-02-04T13:33:41.037" v="7131" actId="1076"/>
          <ac:spMkLst>
            <pc:docMk/>
            <pc:sldMk cId="924304825" sldId="323"/>
            <ac:spMk id="10" creationId="{FCDEDE1A-832B-0942-A980-9CB37265D50B}"/>
          </ac:spMkLst>
        </pc:spChg>
        <pc:spChg chg="add mod">
          <ac:chgData name="Ito Koichi" userId="7c59a57e28e385d5" providerId="LiveId" clId="{7BE1A0C3-347C-9343-AD50-5497B70087AB}" dt="2022-02-04T13:33:41.037" v="7131" actId="1076"/>
          <ac:spMkLst>
            <pc:docMk/>
            <pc:sldMk cId="924304825" sldId="323"/>
            <ac:spMk id="16" creationId="{AD75D561-C780-F345-9EC8-3DC4B7BAE4CB}"/>
          </ac:spMkLst>
        </pc:spChg>
        <pc:spChg chg="add del">
          <ac:chgData name="Ito Koichi" userId="7c59a57e28e385d5" providerId="LiveId" clId="{7BE1A0C3-347C-9343-AD50-5497B70087AB}" dt="2022-02-04T13:36:46.315" v="7156" actId="22"/>
          <ac:spMkLst>
            <pc:docMk/>
            <pc:sldMk cId="924304825" sldId="323"/>
            <ac:spMk id="20" creationId="{EFA19D32-CB71-874A-8A84-28EC745EFF40}"/>
          </ac:spMkLst>
        </pc:spChg>
        <pc:picChg chg="add mod modCrop">
          <ac:chgData name="Ito Koichi" userId="7c59a57e28e385d5" providerId="LiveId" clId="{7BE1A0C3-347C-9343-AD50-5497B70087AB}" dt="2022-02-04T13:28:50.558" v="7069" actId="1076"/>
          <ac:picMkLst>
            <pc:docMk/>
            <pc:sldMk cId="924304825" sldId="323"/>
            <ac:picMk id="3" creationId="{2936F0DF-51E7-FD48-A0CC-9FA707D1EE3B}"/>
          </ac:picMkLst>
        </pc:picChg>
        <pc:picChg chg="del">
          <ac:chgData name="Ito Koichi" userId="7c59a57e28e385d5" providerId="LiveId" clId="{7BE1A0C3-347C-9343-AD50-5497B70087AB}" dt="2022-02-04T13:26:23.063" v="7019" actId="478"/>
          <ac:picMkLst>
            <pc:docMk/>
            <pc:sldMk cId="924304825" sldId="323"/>
            <ac:picMk id="6" creationId="{747D641F-D74B-264D-AFAB-0F868C52A051}"/>
          </ac:picMkLst>
        </pc:picChg>
        <pc:picChg chg="add mod modCrop">
          <ac:chgData name="Ito Koichi" userId="7c59a57e28e385d5" providerId="LiveId" clId="{7BE1A0C3-347C-9343-AD50-5497B70087AB}" dt="2022-02-04T13:28:50.558" v="7069" actId="1076"/>
          <ac:picMkLst>
            <pc:docMk/>
            <pc:sldMk cId="924304825" sldId="323"/>
            <ac:picMk id="7" creationId="{E0AA6E0D-1C16-5C4C-BFDF-54DBDF4BF8C1}"/>
          </ac:picMkLst>
        </pc:picChg>
        <pc:picChg chg="del">
          <ac:chgData name="Ito Koichi" userId="7c59a57e28e385d5" providerId="LiveId" clId="{7BE1A0C3-347C-9343-AD50-5497B70087AB}" dt="2022-02-04T13:26:23.063" v="7019" actId="478"/>
          <ac:picMkLst>
            <pc:docMk/>
            <pc:sldMk cId="924304825" sldId="323"/>
            <ac:picMk id="8" creationId="{773FFC7F-0625-0F40-A4DD-18B7D5023FA9}"/>
          </ac:picMkLst>
        </pc:picChg>
        <pc:picChg chg="add del mod">
          <ac:chgData name="Ito Koichi" userId="7c59a57e28e385d5" providerId="LiveId" clId="{7BE1A0C3-347C-9343-AD50-5497B70087AB}" dt="2022-02-04T13:31:08.168" v="7098" actId="478"/>
          <ac:picMkLst>
            <pc:docMk/>
            <pc:sldMk cId="924304825" sldId="323"/>
            <ac:picMk id="11" creationId="{67FE8E2C-6E74-D14C-873A-6E9FF0EA2821}"/>
          </ac:picMkLst>
        </pc:picChg>
        <pc:picChg chg="add mod modCrop">
          <ac:chgData name="Ito Koichi" userId="7c59a57e28e385d5" providerId="LiveId" clId="{7BE1A0C3-347C-9343-AD50-5497B70087AB}" dt="2022-02-04T13:32:55.954" v="7124" actId="1076"/>
          <ac:picMkLst>
            <pc:docMk/>
            <pc:sldMk cId="924304825" sldId="323"/>
            <ac:picMk id="12" creationId="{45EB2325-CF26-B440-B0DB-106BB2EE2C49}"/>
          </ac:picMkLst>
        </pc:picChg>
        <pc:picChg chg="add mod modCrop">
          <ac:chgData name="Ito Koichi" userId="7c59a57e28e385d5" providerId="LiveId" clId="{7BE1A0C3-347C-9343-AD50-5497B70087AB}" dt="2022-02-04T13:32:54.110" v="7123" actId="1076"/>
          <ac:picMkLst>
            <pc:docMk/>
            <pc:sldMk cId="924304825" sldId="323"/>
            <ac:picMk id="13" creationId="{310108E3-980E-5148-8787-F0F2B03939FA}"/>
          </ac:picMkLst>
        </pc:picChg>
        <pc:picChg chg="add del mod">
          <ac:chgData name="Ito Koichi" userId="7c59a57e28e385d5" providerId="LiveId" clId="{7BE1A0C3-347C-9343-AD50-5497B70087AB}" dt="2022-02-04T13:31:06.358" v="7097" actId="478"/>
          <ac:picMkLst>
            <pc:docMk/>
            <pc:sldMk cId="924304825" sldId="323"/>
            <ac:picMk id="14" creationId="{BAC29EBA-978D-BA40-9429-678830D9D546}"/>
          </ac:picMkLst>
        </pc:picChg>
        <pc:picChg chg="add mod modCrop">
          <ac:chgData name="Ito Koichi" userId="7c59a57e28e385d5" providerId="LiveId" clId="{7BE1A0C3-347C-9343-AD50-5497B70087AB}" dt="2022-02-04T13:32:32.588" v="7121" actId="1076"/>
          <ac:picMkLst>
            <pc:docMk/>
            <pc:sldMk cId="924304825" sldId="323"/>
            <ac:picMk id="15" creationId="{06A44D3E-78D4-A44B-B0D7-664806CBF84C}"/>
          </ac:picMkLst>
        </pc:picChg>
        <pc:picChg chg="add mod modCrop">
          <ac:chgData name="Ito Koichi" userId="7c59a57e28e385d5" providerId="LiveId" clId="{7BE1A0C3-347C-9343-AD50-5497B70087AB}" dt="2022-02-04T13:35:09.827" v="7153" actId="1076"/>
          <ac:picMkLst>
            <pc:docMk/>
            <pc:sldMk cId="924304825" sldId="323"/>
            <ac:picMk id="17" creationId="{99185F84-F355-C94F-8173-715E1DD60949}"/>
          </ac:picMkLst>
        </pc:picChg>
        <pc:picChg chg="add mod modCrop">
          <ac:chgData name="Ito Koichi" userId="7c59a57e28e385d5" providerId="LiveId" clId="{7BE1A0C3-347C-9343-AD50-5497B70087AB}" dt="2022-02-04T13:35:16.070" v="7154" actId="1076"/>
          <ac:picMkLst>
            <pc:docMk/>
            <pc:sldMk cId="924304825" sldId="323"/>
            <ac:picMk id="18" creationId="{B25A230A-0A3E-2643-8B88-FF865359A560}"/>
          </ac:picMkLst>
        </pc:picChg>
      </pc:sldChg>
      <pc:sldChg chg="addSp delSp modSp add mod">
        <pc:chgData name="Ito Koichi" userId="7c59a57e28e385d5" providerId="LiveId" clId="{7BE1A0C3-347C-9343-AD50-5497B70087AB}" dt="2022-02-04T13:52:32.282" v="7225" actId="1076"/>
        <pc:sldMkLst>
          <pc:docMk/>
          <pc:sldMk cId="712796959" sldId="324"/>
        </pc:sldMkLst>
        <pc:spChg chg="mod">
          <ac:chgData name="Ito Koichi" userId="7c59a57e28e385d5" providerId="LiveId" clId="{7BE1A0C3-347C-9343-AD50-5497B70087AB}" dt="2022-02-04T13:39:28.438" v="7159" actId="20577"/>
          <ac:spMkLst>
            <pc:docMk/>
            <pc:sldMk cId="712796959" sldId="324"/>
            <ac:spMk id="2" creationId="{18C0CF12-81D5-0D4F-A24F-3BAC5546F0A4}"/>
          </ac:spMkLst>
        </pc:spChg>
        <pc:spChg chg="add mod">
          <ac:chgData name="Ito Koichi" userId="7c59a57e28e385d5" providerId="LiveId" clId="{7BE1A0C3-347C-9343-AD50-5497B70087AB}" dt="2022-02-04T13:52:04.426" v="7216" actId="404"/>
          <ac:spMkLst>
            <pc:docMk/>
            <pc:sldMk cId="712796959" sldId="324"/>
            <ac:spMk id="8" creationId="{C5189421-8C24-6A40-AF87-0D8E32AE9A7C}"/>
          </ac:spMkLst>
        </pc:spChg>
        <pc:spChg chg="mod">
          <ac:chgData name="Ito Koichi" userId="7c59a57e28e385d5" providerId="LiveId" clId="{7BE1A0C3-347C-9343-AD50-5497B70087AB}" dt="2022-02-04T13:50:59.012" v="7209" actId="404"/>
          <ac:spMkLst>
            <pc:docMk/>
            <pc:sldMk cId="712796959" sldId="324"/>
            <ac:spMk id="9" creationId="{79F9DC4F-41D5-0F4D-881B-2B30DE10BD2A}"/>
          </ac:spMkLst>
        </pc:spChg>
        <pc:picChg chg="del">
          <ac:chgData name="Ito Koichi" userId="7c59a57e28e385d5" providerId="LiveId" clId="{7BE1A0C3-347C-9343-AD50-5497B70087AB}" dt="2022-02-04T13:49:43.015" v="7188" actId="478"/>
          <ac:picMkLst>
            <pc:docMk/>
            <pc:sldMk cId="712796959" sldId="324"/>
            <ac:picMk id="3" creationId="{5619E4FD-92AE-484C-8CC0-FDF9E2B04DC4}"/>
          </ac:picMkLst>
        </pc:picChg>
        <pc:picChg chg="add mod modCrop">
          <ac:chgData name="Ito Koichi" userId="7c59a57e28e385d5" providerId="LiveId" clId="{7BE1A0C3-347C-9343-AD50-5497B70087AB}" dt="2022-02-04T13:50:21.370" v="7197" actId="1076"/>
          <ac:picMkLst>
            <pc:docMk/>
            <pc:sldMk cId="712796959" sldId="324"/>
            <ac:picMk id="6" creationId="{89E0D140-0498-4646-A6CA-CF7ED178201A}"/>
          </ac:picMkLst>
        </pc:picChg>
        <pc:picChg chg="del">
          <ac:chgData name="Ito Koichi" userId="7c59a57e28e385d5" providerId="LiveId" clId="{7BE1A0C3-347C-9343-AD50-5497B70087AB}" dt="2022-02-04T13:49:44.023" v="7189" actId="478"/>
          <ac:picMkLst>
            <pc:docMk/>
            <pc:sldMk cId="712796959" sldId="324"/>
            <ac:picMk id="7" creationId="{5EBE91E1-ACE1-9D4B-AD07-332EF096355D}"/>
          </ac:picMkLst>
        </pc:picChg>
        <pc:picChg chg="add del mod">
          <ac:chgData name="Ito Koichi" userId="7c59a57e28e385d5" providerId="LiveId" clId="{7BE1A0C3-347C-9343-AD50-5497B70087AB}" dt="2022-02-04T13:52:13.237" v="7218" actId="931"/>
          <ac:picMkLst>
            <pc:docMk/>
            <pc:sldMk cId="712796959" sldId="324"/>
            <ac:picMk id="11" creationId="{192C0379-3E4A-514D-A51E-40889F0672B2}"/>
          </ac:picMkLst>
        </pc:picChg>
        <pc:picChg chg="add del mod">
          <ac:chgData name="Ito Koichi" userId="7c59a57e28e385d5" providerId="LiveId" clId="{7BE1A0C3-347C-9343-AD50-5497B70087AB}" dt="2022-02-04T13:52:19.433" v="7220" actId="931"/>
          <ac:picMkLst>
            <pc:docMk/>
            <pc:sldMk cId="712796959" sldId="324"/>
            <ac:picMk id="13" creationId="{C4BB8B64-770E-394E-8939-00E7F8051862}"/>
          </ac:picMkLst>
        </pc:picChg>
        <pc:picChg chg="add mod">
          <ac:chgData name="Ito Koichi" userId="7c59a57e28e385d5" providerId="LiveId" clId="{7BE1A0C3-347C-9343-AD50-5497B70087AB}" dt="2022-02-04T13:52:32.282" v="7225" actId="1076"/>
          <ac:picMkLst>
            <pc:docMk/>
            <pc:sldMk cId="712796959" sldId="324"/>
            <ac:picMk id="15" creationId="{921FC29F-9527-6043-979D-0B1987DFEDDF}"/>
          </ac:picMkLst>
        </pc:picChg>
      </pc:sldChg>
      <pc:sldChg chg="modSp add mod">
        <pc:chgData name="Ito Koichi" userId="7c59a57e28e385d5" providerId="LiveId" clId="{7BE1A0C3-347C-9343-AD50-5497B70087AB}" dt="2022-02-04T13:58:44.943" v="7232" actId="20577"/>
        <pc:sldMkLst>
          <pc:docMk/>
          <pc:sldMk cId="2962039528" sldId="325"/>
        </pc:sldMkLst>
        <pc:spChg chg="mod">
          <ac:chgData name="Ito Koichi" userId="7c59a57e28e385d5" providerId="LiveId" clId="{7BE1A0C3-347C-9343-AD50-5497B70087AB}" dt="2022-02-04T13:58:44.943" v="7232" actId="20577"/>
          <ac:spMkLst>
            <pc:docMk/>
            <pc:sldMk cId="2962039528" sldId="325"/>
            <ac:spMk id="2" creationId="{E01226A3-FD12-4BA7-ABF5-9D408688073E}"/>
          </ac:spMkLst>
        </pc:spChg>
      </pc:sldChg>
      <pc:sldChg chg="modSp add mod">
        <pc:chgData name="Ito Koichi" userId="7c59a57e28e385d5" providerId="LiveId" clId="{7BE1A0C3-347C-9343-AD50-5497B70087AB}" dt="2022-02-04T13:59:05.883" v="7238" actId="20577"/>
        <pc:sldMkLst>
          <pc:docMk/>
          <pc:sldMk cId="2382116385" sldId="326"/>
        </pc:sldMkLst>
        <pc:spChg chg="mod">
          <ac:chgData name="Ito Koichi" userId="7c59a57e28e385d5" providerId="LiveId" clId="{7BE1A0C3-347C-9343-AD50-5497B70087AB}" dt="2022-02-04T13:59:05.883" v="7238" actId="20577"/>
          <ac:spMkLst>
            <pc:docMk/>
            <pc:sldMk cId="2382116385" sldId="326"/>
            <ac:spMk id="2" creationId="{E01226A3-FD12-4BA7-ABF5-9D408688073E}"/>
          </ac:spMkLst>
        </pc:spChg>
      </pc:sldChg>
      <pc:sldChg chg="modSp add mod">
        <pc:chgData name="Ito Koichi" userId="7c59a57e28e385d5" providerId="LiveId" clId="{7BE1A0C3-347C-9343-AD50-5497B70087AB}" dt="2022-02-04T13:59:37.754" v="7244" actId="20577"/>
        <pc:sldMkLst>
          <pc:docMk/>
          <pc:sldMk cId="4172093184" sldId="327"/>
        </pc:sldMkLst>
        <pc:spChg chg="mod">
          <ac:chgData name="Ito Koichi" userId="7c59a57e28e385d5" providerId="LiveId" clId="{7BE1A0C3-347C-9343-AD50-5497B70087AB}" dt="2022-02-04T13:59:37.754" v="7244" actId="20577"/>
          <ac:spMkLst>
            <pc:docMk/>
            <pc:sldMk cId="4172093184" sldId="327"/>
            <ac:spMk id="2" creationId="{E01226A3-FD12-4BA7-ABF5-9D408688073E}"/>
          </ac:spMkLst>
        </pc:spChg>
      </pc:sldChg>
      <pc:sldChg chg="addSp delSp modSp add mod">
        <pc:chgData name="Ito Koichi" userId="7c59a57e28e385d5" providerId="LiveId" clId="{7BE1A0C3-347C-9343-AD50-5497B70087AB}" dt="2022-02-07T07:47:43.821" v="9899" actId="14100"/>
        <pc:sldMkLst>
          <pc:docMk/>
          <pc:sldMk cId="1401364146" sldId="328"/>
        </pc:sldMkLst>
        <pc:spChg chg="mod">
          <ac:chgData name="Ito Koichi" userId="7c59a57e28e385d5" providerId="LiveId" clId="{7BE1A0C3-347C-9343-AD50-5497B70087AB}" dt="2022-02-05T06:25:10.540" v="7290" actId="20577"/>
          <ac:spMkLst>
            <pc:docMk/>
            <pc:sldMk cId="1401364146" sldId="328"/>
            <ac:spMk id="2" creationId="{7A4247B2-5249-5248-B8AE-A7B09D6710DC}"/>
          </ac:spMkLst>
        </pc:spChg>
        <pc:spChg chg="add mod">
          <ac:chgData name="Ito Koichi" userId="7c59a57e28e385d5" providerId="LiveId" clId="{7BE1A0C3-347C-9343-AD50-5497B70087AB}" dt="2022-02-05T06:33:45.296" v="7563" actId="164"/>
          <ac:spMkLst>
            <pc:docMk/>
            <pc:sldMk cId="1401364146" sldId="328"/>
            <ac:spMk id="7" creationId="{3E91D370-DDD2-2B47-ADCD-EAD8D6F29C45}"/>
          </ac:spMkLst>
        </pc:spChg>
        <pc:spChg chg="del">
          <ac:chgData name="Ito Koichi" userId="7c59a57e28e385d5" providerId="LiveId" clId="{7BE1A0C3-347C-9343-AD50-5497B70087AB}" dt="2022-02-05T06:24:29.942" v="7246" actId="478"/>
          <ac:spMkLst>
            <pc:docMk/>
            <pc:sldMk cId="1401364146" sldId="328"/>
            <ac:spMk id="8" creationId="{150B18A2-40EA-4543-91EF-FB5D1EA694B8}"/>
          </ac:spMkLst>
        </pc:spChg>
        <pc:spChg chg="del">
          <ac:chgData name="Ito Koichi" userId="7c59a57e28e385d5" providerId="LiveId" clId="{7BE1A0C3-347C-9343-AD50-5497B70087AB}" dt="2022-02-05T06:24:29.942" v="7246" actId="478"/>
          <ac:spMkLst>
            <pc:docMk/>
            <pc:sldMk cId="1401364146" sldId="328"/>
            <ac:spMk id="9" creationId="{EF46FD93-006D-1841-9BF2-A76B949BB2B1}"/>
          </ac:spMkLst>
        </pc:spChg>
        <pc:spChg chg="del">
          <ac:chgData name="Ito Koichi" userId="7c59a57e28e385d5" providerId="LiveId" clId="{7BE1A0C3-347C-9343-AD50-5497B70087AB}" dt="2022-02-05T06:24:29.942" v="7246" actId="478"/>
          <ac:spMkLst>
            <pc:docMk/>
            <pc:sldMk cId="1401364146" sldId="328"/>
            <ac:spMk id="10" creationId="{A5D1A0BB-C2B2-B64F-8DA3-211FB43442A7}"/>
          </ac:spMkLst>
        </pc:spChg>
        <pc:spChg chg="del">
          <ac:chgData name="Ito Koichi" userId="7c59a57e28e385d5" providerId="LiveId" clId="{7BE1A0C3-347C-9343-AD50-5497B70087AB}" dt="2022-02-05T06:24:29.942" v="7246" actId="478"/>
          <ac:spMkLst>
            <pc:docMk/>
            <pc:sldMk cId="1401364146" sldId="328"/>
            <ac:spMk id="11" creationId="{C2C320BC-0EED-FE4E-A091-F96420DA7C32}"/>
          </ac:spMkLst>
        </pc:spChg>
        <pc:spChg chg="add mod">
          <ac:chgData name="Ito Koichi" userId="7c59a57e28e385d5" providerId="LiveId" clId="{7BE1A0C3-347C-9343-AD50-5497B70087AB}" dt="2022-02-05T06:33:45.296" v="7563" actId="164"/>
          <ac:spMkLst>
            <pc:docMk/>
            <pc:sldMk cId="1401364146" sldId="328"/>
            <ac:spMk id="15" creationId="{BF3120CE-B4A6-3746-9B1D-C853DA56516F}"/>
          </ac:spMkLst>
        </pc:spChg>
        <pc:spChg chg="add mod">
          <ac:chgData name="Ito Koichi" userId="7c59a57e28e385d5" providerId="LiveId" clId="{7BE1A0C3-347C-9343-AD50-5497B70087AB}" dt="2022-02-05T06:33:45.296" v="7563" actId="164"/>
          <ac:spMkLst>
            <pc:docMk/>
            <pc:sldMk cId="1401364146" sldId="328"/>
            <ac:spMk id="17" creationId="{F3194BD2-5D87-F04B-996C-9F0DE2015920}"/>
          </ac:spMkLst>
        </pc:spChg>
        <pc:spChg chg="add mod">
          <ac:chgData name="Ito Koichi" userId="7c59a57e28e385d5" providerId="LiveId" clId="{7BE1A0C3-347C-9343-AD50-5497B70087AB}" dt="2022-02-05T06:33:45.296" v="7563" actId="164"/>
          <ac:spMkLst>
            <pc:docMk/>
            <pc:sldMk cId="1401364146" sldId="328"/>
            <ac:spMk id="18" creationId="{4D33DC17-F738-214B-A7FC-F91514987580}"/>
          </ac:spMkLst>
        </pc:spChg>
        <pc:spChg chg="add mod">
          <ac:chgData name="Ito Koichi" userId="7c59a57e28e385d5" providerId="LiveId" clId="{7BE1A0C3-347C-9343-AD50-5497B70087AB}" dt="2022-02-07T07:47:43.821" v="9899" actId="14100"/>
          <ac:spMkLst>
            <pc:docMk/>
            <pc:sldMk cId="1401364146" sldId="328"/>
            <ac:spMk id="19" creationId="{14952187-59E6-E945-9BEC-8BFBBAF3E769}"/>
          </ac:spMkLst>
        </pc:spChg>
        <pc:spChg chg="add mod">
          <ac:chgData name="Ito Koichi" userId="7c59a57e28e385d5" providerId="LiveId" clId="{7BE1A0C3-347C-9343-AD50-5497B70087AB}" dt="2022-02-05T06:33:45.296" v="7563" actId="164"/>
          <ac:spMkLst>
            <pc:docMk/>
            <pc:sldMk cId="1401364146" sldId="328"/>
            <ac:spMk id="22" creationId="{5027EA46-7AE4-C14F-BA6D-CBC317D44A95}"/>
          </ac:spMkLst>
        </pc:spChg>
        <pc:spChg chg="add mod">
          <ac:chgData name="Ito Koichi" userId="7c59a57e28e385d5" providerId="LiveId" clId="{7BE1A0C3-347C-9343-AD50-5497B70087AB}" dt="2022-02-05T06:33:45.296" v="7563" actId="164"/>
          <ac:spMkLst>
            <pc:docMk/>
            <pc:sldMk cId="1401364146" sldId="328"/>
            <ac:spMk id="24" creationId="{32B08C12-9484-634F-A48E-853C3A298800}"/>
          </ac:spMkLst>
        </pc:spChg>
        <pc:spChg chg="add mod">
          <ac:chgData name="Ito Koichi" userId="7c59a57e28e385d5" providerId="LiveId" clId="{7BE1A0C3-347C-9343-AD50-5497B70087AB}" dt="2022-02-05T06:33:45.296" v="7563" actId="164"/>
          <ac:spMkLst>
            <pc:docMk/>
            <pc:sldMk cId="1401364146" sldId="328"/>
            <ac:spMk id="25" creationId="{D716FBEA-F445-B243-BABA-7C4FE5C57784}"/>
          </ac:spMkLst>
        </pc:spChg>
        <pc:spChg chg="add del mod">
          <ac:chgData name="Ito Koichi" userId="7c59a57e28e385d5" providerId="LiveId" clId="{7BE1A0C3-347C-9343-AD50-5497B70087AB}" dt="2022-02-05T06:37:11.114" v="7701" actId="14100"/>
          <ac:spMkLst>
            <pc:docMk/>
            <pc:sldMk cId="1401364146" sldId="328"/>
            <ac:spMk id="28" creationId="{E817E83C-4F34-3A49-9DC2-570C3E944898}"/>
          </ac:spMkLst>
        </pc:spChg>
        <pc:spChg chg="add del mod">
          <ac:chgData name="Ito Koichi" userId="7c59a57e28e385d5" providerId="LiveId" clId="{7BE1A0C3-347C-9343-AD50-5497B70087AB}" dt="2022-02-05T06:32:19.983" v="7500"/>
          <ac:spMkLst>
            <pc:docMk/>
            <pc:sldMk cId="1401364146" sldId="328"/>
            <ac:spMk id="29" creationId="{0D0DC4BA-5F8D-9D4D-A4EC-93DD7C7E73AA}"/>
          </ac:spMkLst>
        </pc:spChg>
        <pc:spChg chg="add mod">
          <ac:chgData name="Ito Koichi" userId="7c59a57e28e385d5" providerId="LiveId" clId="{7BE1A0C3-347C-9343-AD50-5497B70087AB}" dt="2022-02-05T06:37:06.201" v="7700" actId="14100"/>
          <ac:spMkLst>
            <pc:docMk/>
            <pc:sldMk cId="1401364146" sldId="328"/>
            <ac:spMk id="31" creationId="{6AE1BDE3-15E8-3042-939B-D4C58A364897}"/>
          </ac:spMkLst>
        </pc:spChg>
        <pc:spChg chg="add mod">
          <ac:chgData name="Ito Koichi" userId="7c59a57e28e385d5" providerId="LiveId" clId="{7BE1A0C3-347C-9343-AD50-5497B70087AB}" dt="2022-02-05T06:37:00.025" v="7699" actId="27636"/>
          <ac:spMkLst>
            <pc:docMk/>
            <pc:sldMk cId="1401364146" sldId="328"/>
            <ac:spMk id="35" creationId="{81BF859F-9C13-EE44-8FB4-B138E74DFABD}"/>
          </ac:spMkLst>
        </pc:spChg>
        <pc:spChg chg="add mod">
          <ac:chgData name="Ito Koichi" userId="7c59a57e28e385d5" providerId="LiveId" clId="{7BE1A0C3-347C-9343-AD50-5497B70087AB}" dt="2022-02-05T06:36:51.890" v="7697" actId="14100"/>
          <ac:spMkLst>
            <pc:docMk/>
            <pc:sldMk cId="1401364146" sldId="328"/>
            <ac:spMk id="36" creationId="{316AC704-D677-BB4A-9E71-A7B4800A5A5E}"/>
          </ac:spMkLst>
        </pc:spChg>
        <pc:grpChg chg="add mod">
          <ac:chgData name="Ito Koichi" userId="7c59a57e28e385d5" providerId="LiveId" clId="{7BE1A0C3-347C-9343-AD50-5497B70087AB}" dt="2022-02-05T06:33:59.916" v="7564" actId="1076"/>
          <ac:grpSpMkLst>
            <pc:docMk/>
            <pc:sldMk cId="1401364146" sldId="328"/>
            <ac:grpSpMk id="32" creationId="{41F7C7E5-6010-2743-9598-1E0F3F718F88}"/>
          </ac:grpSpMkLst>
        </pc:grpChg>
        <pc:picChg chg="add mod">
          <ac:chgData name="Ito Koichi" userId="7c59a57e28e385d5" providerId="LiveId" clId="{7BE1A0C3-347C-9343-AD50-5497B70087AB}" dt="2022-02-05T06:33:45.296" v="7563" actId="164"/>
          <ac:picMkLst>
            <pc:docMk/>
            <pc:sldMk cId="1401364146" sldId="328"/>
            <ac:picMk id="6" creationId="{64F0CCB2-F115-B941-B754-6A1D40BEF306}"/>
          </ac:picMkLst>
        </pc:picChg>
        <pc:picChg chg="add del mod">
          <ac:chgData name="Ito Koichi" userId="7c59a57e28e385d5" providerId="LiveId" clId="{7BE1A0C3-347C-9343-AD50-5497B70087AB}" dt="2022-02-05T06:26:02.841" v="7303"/>
          <ac:picMkLst>
            <pc:docMk/>
            <pc:sldMk cId="1401364146" sldId="328"/>
            <ac:picMk id="13" creationId="{9AF8BFDA-B6E7-494E-AD5C-7EDA4D08BEA9}"/>
          </ac:picMkLst>
        </pc:picChg>
        <pc:picChg chg="del">
          <ac:chgData name="Ito Koichi" userId="7c59a57e28e385d5" providerId="LiveId" clId="{7BE1A0C3-347C-9343-AD50-5497B70087AB}" dt="2022-02-05T06:24:32.200" v="7247" actId="478"/>
          <ac:picMkLst>
            <pc:docMk/>
            <pc:sldMk cId="1401364146" sldId="328"/>
            <ac:picMk id="21" creationId="{7B1A0B26-22AE-0B48-9D0D-0A0AC1E263D8}"/>
          </ac:picMkLst>
        </pc:picChg>
        <pc:picChg chg="del">
          <ac:chgData name="Ito Koichi" userId="7c59a57e28e385d5" providerId="LiveId" clId="{7BE1A0C3-347C-9343-AD50-5497B70087AB}" dt="2022-02-05T06:24:32.200" v="7247" actId="478"/>
          <ac:picMkLst>
            <pc:docMk/>
            <pc:sldMk cId="1401364146" sldId="328"/>
            <ac:picMk id="23" creationId="{7C4737B2-BEFF-1F41-A242-BD62ABD8FEB2}"/>
          </ac:picMkLst>
        </pc:picChg>
        <pc:cxnChg chg="del">
          <ac:chgData name="Ito Koichi" userId="7c59a57e28e385d5" providerId="LiveId" clId="{7BE1A0C3-347C-9343-AD50-5497B70087AB}" dt="2022-02-05T06:24:29.942" v="7246" actId="478"/>
          <ac:cxnSpMkLst>
            <pc:docMk/>
            <pc:sldMk cId="1401364146" sldId="328"/>
            <ac:cxnSpMk id="14" creationId="{7ADCFF1D-EEC6-3640-ADA4-D510578A7A7D}"/>
          </ac:cxnSpMkLst>
        </pc:cxnChg>
        <pc:cxnChg chg="add del mod">
          <ac:chgData name="Ito Koichi" userId="7c59a57e28e385d5" providerId="LiveId" clId="{7BE1A0C3-347C-9343-AD50-5497B70087AB}" dt="2022-02-05T06:34:32.126" v="7573" actId="478"/>
          <ac:cxnSpMkLst>
            <pc:docMk/>
            <pc:sldMk cId="1401364146" sldId="328"/>
            <ac:cxnSpMk id="20" creationId="{B1DBBECD-035E-8C44-AF22-A69E441DD061}"/>
          </ac:cxnSpMkLst>
        </pc:cxnChg>
        <pc:cxnChg chg="add del mod">
          <ac:chgData name="Ito Koichi" userId="7c59a57e28e385d5" providerId="LiveId" clId="{7BE1A0C3-347C-9343-AD50-5497B70087AB}" dt="2022-02-05T06:34:48.775" v="7578" actId="478"/>
          <ac:cxnSpMkLst>
            <pc:docMk/>
            <pc:sldMk cId="1401364146" sldId="328"/>
            <ac:cxnSpMk id="30" creationId="{CD390DD8-DA1F-BD44-8342-CF1F90CB9B1C}"/>
          </ac:cxnSpMkLst>
        </pc:cxnChg>
      </pc:sldChg>
      <pc:sldChg chg="addSp delSp modSp add mod">
        <pc:chgData name="Ito Koichi" userId="7c59a57e28e385d5" providerId="LiveId" clId="{7BE1A0C3-347C-9343-AD50-5497B70087AB}" dt="2022-02-05T06:58:54.023" v="7889" actId="20577"/>
        <pc:sldMkLst>
          <pc:docMk/>
          <pc:sldMk cId="3384531833" sldId="329"/>
        </pc:sldMkLst>
        <pc:spChg chg="mod">
          <ac:chgData name="Ito Koichi" userId="7c59a57e28e385d5" providerId="LiveId" clId="{7BE1A0C3-347C-9343-AD50-5497B70087AB}" dt="2022-02-05T06:58:54.023" v="7889" actId="20577"/>
          <ac:spMkLst>
            <pc:docMk/>
            <pc:sldMk cId="3384531833" sldId="329"/>
            <ac:spMk id="2" creationId="{18C0CF12-81D5-0D4F-A24F-3BAC5546F0A4}"/>
          </ac:spMkLst>
        </pc:spChg>
        <pc:spChg chg="del">
          <ac:chgData name="Ito Koichi" userId="7c59a57e28e385d5" providerId="LiveId" clId="{7BE1A0C3-347C-9343-AD50-5497B70087AB}" dt="2022-02-05T06:48:58.986" v="7712" actId="478"/>
          <ac:spMkLst>
            <pc:docMk/>
            <pc:sldMk cId="3384531833" sldId="329"/>
            <ac:spMk id="8" creationId="{C5189421-8C24-6A40-AF87-0D8E32AE9A7C}"/>
          </ac:spMkLst>
        </pc:spChg>
        <pc:spChg chg="del">
          <ac:chgData name="Ito Koichi" userId="7c59a57e28e385d5" providerId="LiveId" clId="{7BE1A0C3-347C-9343-AD50-5497B70087AB}" dt="2022-02-05T06:48:58.986" v="7712" actId="478"/>
          <ac:spMkLst>
            <pc:docMk/>
            <pc:sldMk cId="3384531833" sldId="329"/>
            <ac:spMk id="9" creationId="{79F9DC4F-41D5-0F4D-881B-2B30DE10BD2A}"/>
          </ac:spMkLst>
        </pc:spChg>
        <pc:spChg chg="add mod">
          <ac:chgData name="Ito Koichi" userId="7c59a57e28e385d5" providerId="LiveId" clId="{7BE1A0C3-347C-9343-AD50-5497B70087AB}" dt="2022-02-05T06:51:27.587" v="7789" actId="20577"/>
          <ac:spMkLst>
            <pc:docMk/>
            <pc:sldMk cId="3384531833" sldId="329"/>
            <ac:spMk id="11" creationId="{E57CB43B-5437-704E-8063-20453649BCCF}"/>
          </ac:spMkLst>
        </pc:spChg>
        <pc:spChg chg="add mod">
          <ac:chgData name="Ito Koichi" userId="7c59a57e28e385d5" providerId="LiveId" clId="{7BE1A0C3-347C-9343-AD50-5497B70087AB}" dt="2022-02-05T06:56:39.843" v="7831" actId="20577"/>
          <ac:spMkLst>
            <pc:docMk/>
            <pc:sldMk cId="3384531833" sldId="329"/>
            <ac:spMk id="12" creationId="{AFDCD7CD-AA8B-E940-B4CA-9EDDC1C87FF4}"/>
          </ac:spMkLst>
        </pc:spChg>
        <pc:spChg chg="add mod">
          <ac:chgData name="Ito Koichi" userId="7c59a57e28e385d5" providerId="LiveId" clId="{7BE1A0C3-347C-9343-AD50-5497B70087AB}" dt="2022-02-05T06:57:42.802" v="7875" actId="20577"/>
          <ac:spMkLst>
            <pc:docMk/>
            <pc:sldMk cId="3384531833" sldId="329"/>
            <ac:spMk id="17" creationId="{6AF49FB6-DC58-404B-9ADB-CC1C50F617EF}"/>
          </ac:spMkLst>
        </pc:spChg>
        <pc:spChg chg="add del mod">
          <ac:chgData name="Ito Koichi" userId="7c59a57e28e385d5" providerId="LiveId" clId="{7BE1A0C3-347C-9343-AD50-5497B70087AB}" dt="2022-02-05T06:58:38.883" v="7877"/>
          <ac:spMkLst>
            <pc:docMk/>
            <pc:sldMk cId="3384531833" sldId="329"/>
            <ac:spMk id="18" creationId="{38AAC475-A72A-DB4C-BC9B-573EE9C0110A}"/>
          </ac:spMkLst>
        </pc:spChg>
        <pc:picChg chg="add mod modCrop">
          <ac:chgData name="Ito Koichi" userId="7c59a57e28e385d5" providerId="LiveId" clId="{7BE1A0C3-347C-9343-AD50-5497B70087AB}" dt="2022-02-05T06:54:58.187" v="7810" actId="1076"/>
          <ac:picMkLst>
            <pc:docMk/>
            <pc:sldMk cId="3384531833" sldId="329"/>
            <ac:picMk id="3" creationId="{26C76BB2-4053-3E43-84A7-B9B2FE1D3D4C}"/>
          </ac:picMkLst>
        </pc:picChg>
        <pc:picChg chg="del">
          <ac:chgData name="Ito Koichi" userId="7c59a57e28e385d5" providerId="LiveId" clId="{7BE1A0C3-347C-9343-AD50-5497B70087AB}" dt="2022-02-05T06:48:58.986" v="7712" actId="478"/>
          <ac:picMkLst>
            <pc:docMk/>
            <pc:sldMk cId="3384531833" sldId="329"/>
            <ac:picMk id="6" creationId="{89E0D140-0498-4646-A6CA-CF7ED178201A}"/>
          </ac:picMkLst>
        </pc:picChg>
        <pc:picChg chg="add mod modCrop">
          <ac:chgData name="Ito Koichi" userId="7c59a57e28e385d5" providerId="LiveId" clId="{7BE1A0C3-347C-9343-AD50-5497B70087AB}" dt="2022-02-05T06:50:54.134" v="7736" actId="14100"/>
          <ac:picMkLst>
            <pc:docMk/>
            <pc:sldMk cId="3384531833" sldId="329"/>
            <ac:picMk id="7" creationId="{0D213952-0DC7-5044-AA06-20666619394E}"/>
          </ac:picMkLst>
        </pc:picChg>
        <pc:picChg chg="add mod modCrop">
          <ac:chgData name="Ito Koichi" userId="7c59a57e28e385d5" providerId="LiveId" clId="{7BE1A0C3-347C-9343-AD50-5497B70087AB}" dt="2022-02-05T06:55:00.138" v="7811" actId="1076"/>
          <ac:picMkLst>
            <pc:docMk/>
            <pc:sldMk cId="3384531833" sldId="329"/>
            <ac:picMk id="10" creationId="{276E71EE-7D10-154A-91B2-641F64090152}"/>
          </ac:picMkLst>
        </pc:picChg>
        <pc:picChg chg="del">
          <ac:chgData name="Ito Koichi" userId="7c59a57e28e385d5" providerId="LiveId" clId="{7BE1A0C3-347C-9343-AD50-5497B70087AB}" dt="2022-02-05T06:48:58.986" v="7712" actId="478"/>
          <ac:picMkLst>
            <pc:docMk/>
            <pc:sldMk cId="3384531833" sldId="329"/>
            <ac:picMk id="15" creationId="{921FC29F-9527-6043-979D-0B1987DFEDDF}"/>
          </ac:picMkLst>
        </pc:picChg>
        <pc:cxnChg chg="add mod">
          <ac:chgData name="Ito Koichi" userId="7c59a57e28e385d5" providerId="LiveId" clId="{7BE1A0C3-347C-9343-AD50-5497B70087AB}" dt="2022-02-05T06:57:03.679" v="7833" actId="1076"/>
          <ac:cxnSpMkLst>
            <pc:docMk/>
            <pc:sldMk cId="3384531833" sldId="329"/>
            <ac:cxnSpMk id="14" creationId="{26BCC9D3-61C6-2A4D-943B-2592FBAD706F}"/>
          </ac:cxnSpMkLst>
        </pc:cxnChg>
        <pc:cxnChg chg="add del mod">
          <ac:chgData name="Ito Koichi" userId="7c59a57e28e385d5" providerId="LiveId" clId="{7BE1A0C3-347C-9343-AD50-5497B70087AB}" dt="2022-02-05T06:57:07.623" v="7835"/>
          <ac:cxnSpMkLst>
            <pc:docMk/>
            <pc:sldMk cId="3384531833" sldId="329"/>
            <ac:cxnSpMk id="16" creationId="{C240FA81-773B-994C-80C6-61DA20A42081}"/>
          </ac:cxnSpMkLst>
        </pc:cxnChg>
      </pc:sldChg>
      <pc:sldChg chg="addSp delSp modSp add mod">
        <pc:chgData name="Ito Koichi" userId="7c59a57e28e385d5" providerId="LiveId" clId="{7BE1A0C3-347C-9343-AD50-5497B70087AB}" dt="2022-02-05T07:34:24.042" v="8100" actId="767"/>
        <pc:sldMkLst>
          <pc:docMk/>
          <pc:sldMk cId="586762857" sldId="330"/>
        </pc:sldMkLst>
        <pc:spChg chg="mod">
          <ac:chgData name="Ito Koichi" userId="7c59a57e28e385d5" providerId="LiveId" clId="{7BE1A0C3-347C-9343-AD50-5497B70087AB}" dt="2022-02-05T07:17:18.460" v="8067" actId="20577"/>
          <ac:spMkLst>
            <pc:docMk/>
            <pc:sldMk cId="586762857" sldId="330"/>
            <ac:spMk id="2" creationId="{18C0CF12-81D5-0D4F-A24F-3BAC5546F0A4}"/>
          </ac:spMkLst>
        </pc:spChg>
        <pc:spChg chg="add del mod">
          <ac:chgData name="Ito Koichi" userId="7c59a57e28e385d5" providerId="LiveId" clId="{7BE1A0C3-347C-9343-AD50-5497B70087AB}" dt="2022-02-05T07:34:24.042" v="8100" actId="767"/>
          <ac:spMkLst>
            <pc:docMk/>
            <pc:sldMk cId="586762857" sldId="330"/>
            <ac:spMk id="9" creationId="{8BA55F2F-8EFA-1E44-887A-A04E1661786B}"/>
          </ac:spMkLst>
        </pc:spChg>
        <pc:spChg chg="mod">
          <ac:chgData name="Ito Koichi" userId="7c59a57e28e385d5" providerId="LiveId" clId="{7BE1A0C3-347C-9343-AD50-5497B70087AB}" dt="2022-02-05T07:08:31.954" v="7964" actId="20577"/>
          <ac:spMkLst>
            <pc:docMk/>
            <pc:sldMk cId="586762857" sldId="330"/>
            <ac:spMk id="11" creationId="{E57CB43B-5437-704E-8063-20453649BCCF}"/>
          </ac:spMkLst>
        </pc:spChg>
        <pc:spChg chg="del mod">
          <ac:chgData name="Ito Koichi" userId="7c59a57e28e385d5" providerId="LiveId" clId="{7BE1A0C3-347C-9343-AD50-5497B70087AB}" dt="2022-02-05T07:06:13.346" v="7908" actId="478"/>
          <ac:spMkLst>
            <pc:docMk/>
            <pc:sldMk cId="586762857" sldId="330"/>
            <ac:spMk id="12" creationId="{AFDCD7CD-AA8B-E940-B4CA-9EDDC1C87FF4}"/>
          </ac:spMkLst>
        </pc:spChg>
        <pc:spChg chg="mod">
          <ac:chgData name="Ito Koichi" userId="7c59a57e28e385d5" providerId="LiveId" clId="{7BE1A0C3-347C-9343-AD50-5497B70087AB}" dt="2022-02-05T07:11:38.481" v="8066" actId="20577"/>
          <ac:spMkLst>
            <pc:docMk/>
            <pc:sldMk cId="586762857" sldId="330"/>
            <ac:spMk id="17" creationId="{6AF49FB6-DC58-404B-9ADB-CC1C50F617EF}"/>
          </ac:spMkLst>
        </pc:spChg>
        <pc:picChg chg="del">
          <ac:chgData name="Ito Koichi" userId="7c59a57e28e385d5" providerId="LiveId" clId="{7BE1A0C3-347C-9343-AD50-5497B70087AB}" dt="2022-02-05T07:06:10.061" v="7906" actId="478"/>
          <ac:picMkLst>
            <pc:docMk/>
            <pc:sldMk cId="586762857" sldId="330"/>
            <ac:picMk id="3" creationId="{26C76BB2-4053-3E43-84A7-B9B2FE1D3D4C}"/>
          </ac:picMkLst>
        </pc:picChg>
        <pc:picChg chg="add mod modCrop">
          <ac:chgData name="Ito Koichi" userId="7c59a57e28e385d5" providerId="LiveId" clId="{7BE1A0C3-347C-9343-AD50-5497B70087AB}" dt="2022-02-05T07:08:08.958" v="7925" actId="1076"/>
          <ac:picMkLst>
            <pc:docMk/>
            <pc:sldMk cId="586762857" sldId="330"/>
            <ac:picMk id="6" creationId="{1E062A9C-47C1-CD4E-8B8B-04897632BC99}"/>
          </ac:picMkLst>
        </pc:picChg>
        <pc:picChg chg="del">
          <ac:chgData name="Ito Koichi" userId="7c59a57e28e385d5" providerId="LiveId" clId="{7BE1A0C3-347C-9343-AD50-5497B70087AB}" dt="2022-02-05T07:06:10.061" v="7906" actId="478"/>
          <ac:picMkLst>
            <pc:docMk/>
            <pc:sldMk cId="586762857" sldId="330"/>
            <ac:picMk id="7" creationId="{0D213952-0DC7-5044-AA06-20666619394E}"/>
          </ac:picMkLst>
        </pc:picChg>
        <pc:picChg chg="add mod modCrop">
          <ac:chgData name="Ito Koichi" userId="7c59a57e28e385d5" providerId="LiveId" clId="{7BE1A0C3-347C-9343-AD50-5497B70087AB}" dt="2022-02-05T07:09:02.599" v="7970" actId="14100"/>
          <ac:picMkLst>
            <pc:docMk/>
            <pc:sldMk cId="586762857" sldId="330"/>
            <ac:picMk id="8" creationId="{DEF9431B-A9F7-0646-9CBD-F5B61E08F56C}"/>
          </ac:picMkLst>
        </pc:picChg>
        <pc:picChg chg="del">
          <ac:chgData name="Ito Koichi" userId="7c59a57e28e385d5" providerId="LiveId" clId="{7BE1A0C3-347C-9343-AD50-5497B70087AB}" dt="2022-02-05T07:06:10.061" v="7906" actId="478"/>
          <ac:picMkLst>
            <pc:docMk/>
            <pc:sldMk cId="586762857" sldId="330"/>
            <ac:picMk id="10" creationId="{276E71EE-7D10-154A-91B2-641F64090152}"/>
          </ac:picMkLst>
        </pc:picChg>
        <pc:cxnChg chg="del mod">
          <ac:chgData name="Ito Koichi" userId="7c59a57e28e385d5" providerId="LiveId" clId="{7BE1A0C3-347C-9343-AD50-5497B70087AB}" dt="2022-02-05T07:09:12.887" v="7971" actId="478"/>
          <ac:cxnSpMkLst>
            <pc:docMk/>
            <pc:sldMk cId="586762857" sldId="330"/>
            <ac:cxnSpMk id="14" creationId="{26BCC9D3-61C6-2A4D-943B-2592FBAD706F}"/>
          </ac:cxnSpMkLst>
        </pc:cxnChg>
        <pc:cxnChg chg="add mod">
          <ac:chgData name="Ito Koichi" userId="7c59a57e28e385d5" providerId="LiveId" clId="{7BE1A0C3-347C-9343-AD50-5497B70087AB}" dt="2022-02-05T07:09:54.938" v="7974" actId="1076"/>
          <ac:cxnSpMkLst>
            <pc:docMk/>
            <pc:sldMk cId="586762857" sldId="330"/>
            <ac:cxnSpMk id="15" creationId="{B9C61FF1-2CC1-A944-B286-A7C392629E6B}"/>
          </ac:cxnSpMkLst>
        </pc:cxnChg>
        <pc:cxnChg chg="add del mod">
          <ac:chgData name="Ito Koichi" userId="7c59a57e28e385d5" providerId="LiveId" clId="{7BE1A0C3-347C-9343-AD50-5497B70087AB}" dt="2022-02-05T07:17:34.639" v="8069"/>
          <ac:cxnSpMkLst>
            <pc:docMk/>
            <pc:sldMk cId="586762857" sldId="330"/>
            <ac:cxnSpMk id="16" creationId="{92621791-BE03-1649-A336-5162711EEBF7}"/>
          </ac:cxnSpMkLst>
        </pc:cxnChg>
      </pc:sldChg>
      <pc:sldChg chg="addSp delSp modSp add mod">
        <pc:chgData name="Ito Koichi" userId="7c59a57e28e385d5" providerId="LiveId" clId="{7BE1A0C3-347C-9343-AD50-5497B70087AB}" dt="2022-02-06T06:03:40.035" v="8407" actId="20577"/>
        <pc:sldMkLst>
          <pc:docMk/>
          <pc:sldMk cId="3175117747" sldId="331"/>
        </pc:sldMkLst>
        <pc:spChg chg="mod">
          <ac:chgData name="Ito Koichi" userId="7c59a57e28e385d5" providerId="LiveId" clId="{7BE1A0C3-347C-9343-AD50-5497B70087AB}" dt="2022-02-05T07:41:58.010" v="8211" actId="20577"/>
          <ac:spMkLst>
            <pc:docMk/>
            <pc:sldMk cId="3175117747" sldId="331"/>
            <ac:spMk id="2" creationId="{18C0CF12-81D5-0D4F-A24F-3BAC5546F0A4}"/>
          </ac:spMkLst>
        </pc:spChg>
        <pc:spChg chg="del">
          <ac:chgData name="Ito Koichi" userId="7c59a57e28e385d5" providerId="LiveId" clId="{7BE1A0C3-347C-9343-AD50-5497B70087AB}" dt="2022-02-05T07:30:17.189" v="8080" actId="478"/>
          <ac:spMkLst>
            <pc:docMk/>
            <pc:sldMk cId="3175117747" sldId="331"/>
            <ac:spMk id="11" creationId="{E57CB43B-5437-704E-8063-20453649BCCF}"/>
          </ac:spMkLst>
        </pc:spChg>
        <pc:spChg chg="add mod">
          <ac:chgData name="Ito Koichi" userId="7c59a57e28e385d5" providerId="LiveId" clId="{7BE1A0C3-347C-9343-AD50-5497B70087AB}" dt="2022-02-05T07:35:07.929" v="8131" actId="20577"/>
          <ac:spMkLst>
            <pc:docMk/>
            <pc:sldMk cId="3175117747" sldId="331"/>
            <ac:spMk id="12" creationId="{6C4D14E5-AC69-324F-BEAB-5729B4821F2E}"/>
          </ac:spMkLst>
        </pc:spChg>
        <pc:spChg chg="add mod">
          <ac:chgData name="Ito Koichi" userId="7c59a57e28e385d5" providerId="LiveId" clId="{7BE1A0C3-347C-9343-AD50-5497B70087AB}" dt="2022-02-06T06:03:40.035" v="8407" actId="20577"/>
          <ac:spMkLst>
            <pc:docMk/>
            <pc:sldMk cId="3175117747" sldId="331"/>
            <ac:spMk id="13" creationId="{31A098C0-85D4-AA46-93D8-E024E5A7E0AD}"/>
          </ac:spMkLst>
        </pc:spChg>
        <pc:spChg chg="del">
          <ac:chgData name="Ito Koichi" userId="7c59a57e28e385d5" providerId="LiveId" clId="{7BE1A0C3-347C-9343-AD50-5497B70087AB}" dt="2022-02-05T07:30:17.189" v="8080" actId="478"/>
          <ac:spMkLst>
            <pc:docMk/>
            <pc:sldMk cId="3175117747" sldId="331"/>
            <ac:spMk id="17" creationId="{6AF49FB6-DC58-404B-9ADB-CC1C50F617EF}"/>
          </ac:spMkLst>
        </pc:spChg>
        <pc:picChg chg="add mod modCrop">
          <ac:chgData name="Ito Koichi" userId="7c59a57e28e385d5" providerId="LiveId" clId="{7BE1A0C3-347C-9343-AD50-5497B70087AB}" dt="2022-02-05T07:35:48.830" v="8139" actId="14100"/>
          <ac:picMkLst>
            <pc:docMk/>
            <pc:sldMk cId="3175117747" sldId="331"/>
            <ac:picMk id="3" creationId="{D5122F1A-09D4-4E40-96BC-858BF078E4A7}"/>
          </ac:picMkLst>
        </pc:picChg>
        <pc:picChg chg="del">
          <ac:chgData name="Ito Koichi" userId="7c59a57e28e385d5" providerId="LiveId" clId="{7BE1A0C3-347C-9343-AD50-5497B70087AB}" dt="2022-02-05T07:30:17.189" v="8080" actId="478"/>
          <ac:picMkLst>
            <pc:docMk/>
            <pc:sldMk cId="3175117747" sldId="331"/>
            <ac:picMk id="6" creationId="{1E062A9C-47C1-CD4E-8B8B-04897632BC99}"/>
          </ac:picMkLst>
        </pc:picChg>
        <pc:picChg chg="add mod modCrop">
          <ac:chgData name="Ito Koichi" userId="7c59a57e28e385d5" providerId="LiveId" clId="{7BE1A0C3-347C-9343-AD50-5497B70087AB}" dt="2022-02-05T07:36:05.564" v="8141" actId="1076"/>
          <ac:picMkLst>
            <pc:docMk/>
            <pc:sldMk cId="3175117747" sldId="331"/>
            <ac:picMk id="7" creationId="{E35A6B5D-D3B7-3946-BDA0-6F566869D954}"/>
          </ac:picMkLst>
        </pc:picChg>
        <pc:picChg chg="del">
          <ac:chgData name="Ito Koichi" userId="7c59a57e28e385d5" providerId="LiveId" clId="{7BE1A0C3-347C-9343-AD50-5497B70087AB}" dt="2022-02-05T07:30:17.189" v="8080" actId="478"/>
          <ac:picMkLst>
            <pc:docMk/>
            <pc:sldMk cId="3175117747" sldId="331"/>
            <ac:picMk id="8" creationId="{DEF9431B-A9F7-0646-9CBD-F5B61E08F56C}"/>
          </ac:picMkLst>
        </pc:picChg>
        <pc:picChg chg="add mod modCrop">
          <ac:chgData name="Ito Koichi" userId="7c59a57e28e385d5" providerId="LiveId" clId="{7BE1A0C3-347C-9343-AD50-5497B70087AB}" dt="2022-02-05T07:40:09.217" v="8201" actId="1076"/>
          <ac:picMkLst>
            <pc:docMk/>
            <pc:sldMk cId="3175117747" sldId="331"/>
            <ac:picMk id="9" creationId="{D6C16C2F-7A00-564B-9D7D-A34539CBA9FF}"/>
          </ac:picMkLst>
        </pc:picChg>
      </pc:sldChg>
      <pc:sldChg chg="addSp delSp modSp add mod">
        <pc:chgData name="Ito Koichi" userId="7c59a57e28e385d5" providerId="LiveId" clId="{7BE1A0C3-347C-9343-AD50-5497B70087AB}" dt="2022-02-06T05:36:39.392" v="8313" actId="22"/>
        <pc:sldMkLst>
          <pc:docMk/>
          <pc:sldMk cId="1340371423" sldId="332"/>
        </pc:sldMkLst>
        <pc:spChg chg="mod">
          <ac:chgData name="Ito Koichi" userId="7c59a57e28e385d5" providerId="LiveId" clId="{7BE1A0C3-347C-9343-AD50-5497B70087AB}" dt="2022-02-05T07:42:17.403" v="8214"/>
          <ac:spMkLst>
            <pc:docMk/>
            <pc:sldMk cId="1340371423" sldId="332"/>
            <ac:spMk id="2" creationId="{18C0CF12-81D5-0D4F-A24F-3BAC5546F0A4}"/>
          </ac:spMkLst>
        </pc:spChg>
        <pc:spChg chg="mod">
          <ac:chgData name="Ito Koichi" userId="7c59a57e28e385d5" providerId="LiveId" clId="{7BE1A0C3-347C-9343-AD50-5497B70087AB}" dt="2022-02-06T05:25:28.014" v="8283" actId="20577"/>
          <ac:spMkLst>
            <pc:docMk/>
            <pc:sldMk cId="1340371423" sldId="332"/>
            <ac:spMk id="12" creationId="{6C4D14E5-AC69-324F-BEAB-5729B4821F2E}"/>
          </ac:spMkLst>
        </pc:spChg>
        <pc:spChg chg="mod">
          <ac:chgData name="Ito Koichi" userId="7c59a57e28e385d5" providerId="LiveId" clId="{7BE1A0C3-347C-9343-AD50-5497B70087AB}" dt="2022-02-06T05:35:37.902" v="8311" actId="20577"/>
          <ac:spMkLst>
            <pc:docMk/>
            <pc:sldMk cId="1340371423" sldId="332"/>
            <ac:spMk id="13" creationId="{31A098C0-85D4-AA46-93D8-E024E5A7E0AD}"/>
          </ac:spMkLst>
        </pc:spChg>
        <pc:spChg chg="add del">
          <ac:chgData name="Ito Koichi" userId="7c59a57e28e385d5" providerId="LiveId" clId="{7BE1A0C3-347C-9343-AD50-5497B70087AB}" dt="2022-02-06T05:36:39.392" v="8313" actId="22"/>
          <ac:spMkLst>
            <pc:docMk/>
            <pc:sldMk cId="1340371423" sldId="332"/>
            <ac:spMk id="14" creationId="{DFD0BD3C-C095-C744-9211-7B994CE4B26C}"/>
          </ac:spMkLst>
        </pc:spChg>
        <pc:picChg chg="del">
          <ac:chgData name="Ito Koichi" userId="7c59a57e28e385d5" providerId="LiveId" clId="{7BE1A0C3-347C-9343-AD50-5497B70087AB}" dt="2022-02-06T05:23:12.357" v="8215" actId="478"/>
          <ac:picMkLst>
            <pc:docMk/>
            <pc:sldMk cId="1340371423" sldId="332"/>
            <ac:picMk id="3" creationId="{D5122F1A-09D4-4E40-96BC-858BF078E4A7}"/>
          </ac:picMkLst>
        </pc:picChg>
        <pc:picChg chg="add mod modCrop">
          <ac:chgData name="Ito Koichi" userId="7c59a57e28e385d5" providerId="LiveId" clId="{7BE1A0C3-347C-9343-AD50-5497B70087AB}" dt="2022-02-06T05:24:52.603" v="8234" actId="1076"/>
          <ac:picMkLst>
            <pc:docMk/>
            <pc:sldMk cId="1340371423" sldId="332"/>
            <ac:picMk id="6" creationId="{2C56F2ED-F9D9-6242-BD09-738E3D8E4280}"/>
          </ac:picMkLst>
        </pc:picChg>
        <pc:picChg chg="del">
          <ac:chgData name="Ito Koichi" userId="7c59a57e28e385d5" providerId="LiveId" clId="{7BE1A0C3-347C-9343-AD50-5497B70087AB}" dt="2022-02-06T05:23:12.357" v="8215" actId="478"/>
          <ac:picMkLst>
            <pc:docMk/>
            <pc:sldMk cId="1340371423" sldId="332"/>
            <ac:picMk id="7" creationId="{E35A6B5D-D3B7-3946-BDA0-6F566869D954}"/>
          </ac:picMkLst>
        </pc:picChg>
        <pc:picChg chg="add mod modCrop">
          <ac:chgData name="Ito Koichi" userId="7c59a57e28e385d5" providerId="LiveId" clId="{7BE1A0C3-347C-9343-AD50-5497B70087AB}" dt="2022-02-06T05:24:48.447" v="8233" actId="1076"/>
          <ac:picMkLst>
            <pc:docMk/>
            <pc:sldMk cId="1340371423" sldId="332"/>
            <ac:picMk id="8" creationId="{892F2077-7536-9A4E-A549-3775903F2935}"/>
          </ac:picMkLst>
        </pc:picChg>
        <pc:picChg chg="del">
          <ac:chgData name="Ito Koichi" userId="7c59a57e28e385d5" providerId="LiveId" clId="{7BE1A0C3-347C-9343-AD50-5497B70087AB}" dt="2022-02-06T05:23:13.722" v="8216" actId="478"/>
          <ac:picMkLst>
            <pc:docMk/>
            <pc:sldMk cId="1340371423" sldId="332"/>
            <ac:picMk id="9" creationId="{D6C16C2F-7A00-564B-9D7D-A34539CBA9FF}"/>
          </ac:picMkLst>
        </pc:picChg>
      </pc:sldChg>
      <pc:sldChg chg="addSp delSp modSp add mod">
        <pc:chgData name="Ito Koichi" userId="7c59a57e28e385d5" providerId="LiveId" clId="{7BE1A0C3-347C-9343-AD50-5497B70087AB}" dt="2022-02-06T06:04:20.888" v="8497" actId="20577"/>
        <pc:sldMkLst>
          <pc:docMk/>
          <pc:sldMk cId="205362079" sldId="333"/>
        </pc:sldMkLst>
        <pc:spChg chg="mod">
          <ac:chgData name="Ito Koichi" userId="7c59a57e28e385d5" providerId="LiveId" clId="{7BE1A0C3-347C-9343-AD50-5497B70087AB}" dt="2022-02-06T05:39:06.188" v="8321" actId="20577"/>
          <ac:spMkLst>
            <pc:docMk/>
            <pc:sldMk cId="205362079" sldId="333"/>
            <ac:spMk id="2" creationId="{18C0CF12-81D5-0D4F-A24F-3BAC5546F0A4}"/>
          </ac:spMkLst>
        </pc:spChg>
        <pc:spChg chg="mod">
          <ac:chgData name="Ito Koichi" userId="7c59a57e28e385d5" providerId="LiveId" clId="{7BE1A0C3-347C-9343-AD50-5497B70087AB}" dt="2022-02-06T06:04:05.416" v="8462" actId="20577"/>
          <ac:spMkLst>
            <pc:docMk/>
            <pc:sldMk cId="205362079" sldId="333"/>
            <ac:spMk id="12" creationId="{6C4D14E5-AC69-324F-BEAB-5729B4821F2E}"/>
          </ac:spMkLst>
        </pc:spChg>
        <pc:spChg chg="mod">
          <ac:chgData name="Ito Koichi" userId="7c59a57e28e385d5" providerId="LiveId" clId="{7BE1A0C3-347C-9343-AD50-5497B70087AB}" dt="2022-02-06T06:04:20.888" v="8497" actId="20577"/>
          <ac:spMkLst>
            <pc:docMk/>
            <pc:sldMk cId="205362079" sldId="333"/>
            <ac:spMk id="13" creationId="{31A098C0-85D4-AA46-93D8-E024E5A7E0AD}"/>
          </ac:spMkLst>
        </pc:spChg>
        <pc:picChg chg="add mod modCrop">
          <ac:chgData name="Ito Koichi" userId="7c59a57e28e385d5" providerId="LiveId" clId="{7BE1A0C3-347C-9343-AD50-5497B70087AB}" dt="2022-02-06T05:46:48.046" v="8332" actId="1076"/>
          <ac:picMkLst>
            <pc:docMk/>
            <pc:sldMk cId="205362079" sldId="333"/>
            <ac:picMk id="3" creationId="{49C9BBA2-056C-A046-A020-7B8C023039EB}"/>
          </ac:picMkLst>
        </pc:picChg>
        <pc:picChg chg="del">
          <ac:chgData name="Ito Koichi" userId="7c59a57e28e385d5" providerId="LiveId" clId="{7BE1A0C3-347C-9343-AD50-5497B70087AB}" dt="2022-02-06T05:45:43.064" v="8322" actId="478"/>
          <ac:picMkLst>
            <pc:docMk/>
            <pc:sldMk cId="205362079" sldId="333"/>
            <ac:picMk id="6" creationId="{2C56F2ED-F9D9-6242-BD09-738E3D8E4280}"/>
          </ac:picMkLst>
        </pc:picChg>
        <pc:picChg chg="add mod modCrop">
          <ac:chgData name="Ito Koichi" userId="7c59a57e28e385d5" providerId="LiveId" clId="{7BE1A0C3-347C-9343-AD50-5497B70087AB}" dt="2022-02-06T05:47:54.180" v="8347" actId="1076"/>
          <ac:picMkLst>
            <pc:docMk/>
            <pc:sldMk cId="205362079" sldId="333"/>
            <ac:picMk id="7" creationId="{9942146A-E537-914E-9D4A-AD763B78DF0C}"/>
          </ac:picMkLst>
        </pc:picChg>
        <pc:picChg chg="del">
          <ac:chgData name="Ito Koichi" userId="7c59a57e28e385d5" providerId="LiveId" clId="{7BE1A0C3-347C-9343-AD50-5497B70087AB}" dt="2022-02-06T05:45:44.108" v="8323" actId="478"/>
          <ac:picMkLst>
            <pc:docMk/>
            <pc:sldMk cId="205362079" sldId="333"/>
            <ac:picMk id="8" creationId="{892F2077-7536-9A4E-A549-3775903F2935}"/>
          </ac:picMkLst>
        </pc:picChg>
        <pc:picChg chg="add mod">
          <ac:chgData name="Ito Koichi" userId="7c59a57e28e385d5" providerId="LiveId" clId="{7BE1A0C3-347C-9343-AD50-5497B70087AB}" dt="2022-02-06T05:48:01.851" v="8349" actId="1076"/>
          <ac:picMkLst>
            <pc:docMk/>
            <pc:sldMk cId="205362079" sldId="333"/>
            <ac:picMk id="9" creationId="{B7E5A767-2B11-0541-91EB-4960F06B08F2}"/>
          </ac:picMkLst>
        </pc:picChg>
      </pc:sldChg>
      <pc:sldChg chg="addSp delSp modSp add mod">
        <pc:chgData name="Ito Koichi" userId="7c59a57e28e385d5" providerId="LiveId" clId="{7BE1A0C3-347C-9343-AD50-5497B70087AB}" dt="2022-02-06T07:30:33.108" v="8649" actId="20577"/>
        <pc:sldMkLst>
          <pc:docMk/>
          <pc:sldMk cId="3801842481" sldId="334"/>
        </pc:sldMkLst>
        <pc:spChg chg="mod">
          <ac:chgData name="Ito Koichi" userId="7c59a57e28e385d5" providerId="LiveId" clId="{7BE1A0C3-347C-9343-AD50-5497B70087AB}" dt="2022-02-06T07:18:38.106" v="8510" actId="20577"/>
          <ac:spMkLst>
            <pc:docMk/>
            <pc:sldMk cId="3801842481" sldId="334"/>
            <ac:spMk id="2" creationId="{18C0CF12-81D5-0D4F-A24F-3BAC5546F0A4}"/>
          </ac:spMkLst>
        </pc:spChg>
        <pc:spChg chg="mod">
          <ac:chgData name="Ito Koichi" userId="7c59a57e28e385d5" providerId="LiveId" clId="{7BE1A0C3-347C-9343-AD50-5497B70087AB}" dt="2022-02-06T07:29:49.393" v="8589" actId="20577"/>
          <ac:spMkLst>
            <pc:docMk/>
            <pc:sldMk cId="3801842481" sldId="334"/>
            <ac:spMk id="12" creationId="{6C4D14E5-AC69-324F-BEAB-5729B4821F2E}"/>
          </ac:spMkLst>
        </pc:spChg>
        <pc:spChg chg="mod">
          <ac:chgData name="Ito Koichi" userId="7c59a57e28e385d5" providerId="LiveId" clId="{7BE1A0C3-347C-9343-AD50-5497B70087AB}" dt="2022-02-06T07:30:10.852" v="8622" actId="20577"/>
          <ac:spMkLst>
            <pc:docMk/>
            <pc:sldMk cId="3801842481" sldId="334"/>
            <ac:spMk id="13" creationId="{31A098C0-85D4-AA46-93D8-E024E5A7E0AD}"/>
          </ac:spMkLst>
        </pc:spChg>
        <pc:spChg chg="add mod">
          <ac:chgData name="Ito Koichi" userId="7c59a57e28e385d5" providerId="LiveId" clId="{7BE1A0C3-347C-9343-AD50-5497B70087AB}" dt="2022-02-06T07:30:33.108" v="8649" actId="20577"/>
          <ac:spMkLst>
            <pc:docMk/>
            <pc:sldMk cId="3801842481" sldId="334"/>
            <ac:spMk id="19" creationId="{BB3B329B-3D41-FE48-BE33-00801BDC032D}"/>
          </ac:spMkLst>
        </pc:spChg>
        <pc:picChg chg="del">
          <ac:chgData name="Ito Koichi" userId="7c59a57e28e385d5" providerId="LiveId" clId="{7BE1A0C3-347C-9343-AD50-5497B70087AB}" dt="2022-02-06T07:19:07.387" v="8511" actId="478"/>
          <ac:picMkLst>
            <pc:docMk/>
            <pc:sldMk cId="3801842481" sldId="334"/>
            <ac:picMk id="3" creationId="{49C9BBA2-056C-A046-A020-7B8C023039EB}"/>
          </ac:picMkLst>
        </pc:picChg>
        <pc:picChg chg="add mod modCrop">
          <ac:chgData name="Ito Koichi" userId="7c59a57e28e385d5" providerId="LiveId" clId="{7BE1A0C3-347C-9343-AD50-5497B70087AB}" dt="2022-02-06T07:29:55.250" v="8590" actId="1076"/>
          <ac:picMkLst>
            <pc:docMk/>
            <pc:sldMk cId="3801842481" sldId="334"/>
            <ac:picMk id="6" creationId="{FE5DDD97-0001-BA42-9734-81C496A145D0}"/>
          </ac:picMkLst>
        </pc:picChg>
        <pc:picChg chg="del">
          <ac:chgData name="Ito Koichi" userId="7c59a57e28e385d5" providerId="LiveId" clId="{7BE1A0C3-347C-9343-AD50-5497B70087AB}" dt="2022-02-06T07:19:07.387" v="8511" actId="478"/>
          <ac:picMkLst>
            <pc:docMk/>
            <pc:sldMk cId="3801842481" sldId="334"/>
            <ac:picMk id="7" creationId="{9942146A-E537-914E-9D4A-AD763B78DF0C}"/>
          </ac:picMkLst>
        </pc:picChg>
        <pc:picChg chg="add mod modCrop">
          <ac:chgData name="Ito Koichi" userId="7c59a57e28e385d5" providerId="LiveId" clId="{7BE1A0C3-347C-9343-AD50-5497B70087AB}" dt="2022-02-06T07:29:57.850" v="8591" actId="1076"/>
          <ac:picMkLst>
            <pc:docMk/>
            <pc:sldMk cId="3801842481" sldId="334"/>
            <ac:picMk id="8" creationId="{C8B2417A-99A8-8D44-AB0C-926FF5E4F40A}"/>
          </ac:picMkLst>
        </pc:picChg>
        <pc:picChg chg="del">
          <ac:chgData name="Ito Koichi" userId="7c59a57e28e385d5" providerId="LiveId" clId="{7BE1A0C3-347C-9343-AD50-5497B70087AB}" dt="2022-02-06T07:19:07.387" v="8511" actId="478"/>
          <ac:picMkLst>
            <pc:docMk/>
            <pc:sldMk cId="3801842481" sldId="334"/>
            <ac:picMk id="9" creationId="{B7E5A767-2B11-0541-91EB-4960F06B08F2}"/>
          </ac:picMkLst>
        </pc:picChg>
        <pc:picChg chg="add mod">
          <ac:chgData name="Ito Koichi" userId="7c59a57e28e385d5" providerId="LiveId" clId="{7BE1A0C3-347C-9343-AD50-5497B70087AB}" dt="2022-02-06T07:29:07.095" v="8546" actId="1076"/>
          <ac:picMkLst>
            <pc:docMk/>
            <pc:sldMk cId="3801842481" sldId="334"/>
            <ac:picMk id="10" creationId="{0AEF4F20-3743-6844-8FF0-66C1EBEBDAAF}"/>
          </ac:picMkLst>
        </pc:picChg>
        <pc:cxnChg chg="mod">
          <ac:chgData name="Ito Koichi" userId="7c59a57e28e385d5" providerId="LiveId" clId="{7BE1A0C3-347C-9343-AD50-5497B70087AB}" dt="2022-02-06T07:28:59.555" v="8544" actId="1076"/>
          <ac:cxnSpMkLst>
            <pc:docMk/>
            <pc:sldMk cId="3801842481" sldId="334"/>
            <ac:cxnSpMk id="15" creationId="{B9C61FF1-2CC1-A944-B286-A7C392629E6B}"/>
          </ac:cxnSpMkLst>
        </pc:cxnChg>
      </pc:sldChg>
      <pc:sldChg chg="add del">
        <pc:chgData name="Ito Koichi" userId="7c59a57e28e385d5" providerId="LiveId" clId="{7BE1A0C3-347C-9343-AD50-5497B70087AB}" dt="2022-02-06T07:43:01.343" v="8652" actId="2696"/>
        <pc:sldMkLst>
          <pc:docMk/>
          <pc:sldMk cId="1315141870" sldId="335"/>
        </pc:sldMkLst>
      </pc:sldChg>
      <pc:sldChg chg="addSp delSp modSp add mod">
        <pc:chgData name="Ito Koichi" userId="7c59a57e28e385d5" providerId="LiveId" clId="{7BE1A0C3-347C-9343-AD50-5497B70087AB}" dt="2022-02-06T07:49:02.434" v="8801" actId="14100"/>
        <pc:sldMkLst>
          <pc:docMk/>
          <pc:sldMk cId="1157339580" sldId="336"/>
        </pc:sldMkLst>
        <pc:spChg chg="mod">
          <ac:chgData name="Ito Koichi" userId="7c59a57e28e385d5" providerId="LiveId" clId="{7BE1A0C3-347C-9343-AD50-5497B70087AB}" dt="2022-02-06T07:48:23.997" v="8794" actId="20577"/>
          <ac:spMkLst>
            <pc:docMk/>
            <pc:sldMk cId="1157339580" sldId="336"/>
            <ac:spMk id="2" creationId="{18C0CF12-81D5-0D4F-A24F-3BAC5546F0A4}"/>
          </ac:spMkLst>
        </pc:spChg>
        <pc:spChg chg="mod">
          <ac:chgData name="Ito Koichi" userId="7c59a57e28e385d5" providerId="LiveId" clId="{7BE1A0C3-347C-9343-AD50-5497B70087AB}" dt="2022-02-06T07:47:40.908" v="8722" actId="20577"/>
          <ac:spMkLst>
            <pc:docMk/>
            <pc:sldMk cId="1157339580" sldId="336"/>
            <ac:spMk id="12" creationId="{6C4D14E5-AC69-324F-BEAB-5729B4821F2E}"/>
          </ac:spMkLst>
        </pc:spChg>
        <pc:spChg chg="mod">
          <ac:chgData name="Ito Koichi" userId="7c59a57e28e385d5" providerId="LiveId" clId="{7BE1A0C3-347C-9343-AD50-5497B70087AB}" dt="2022-02-06T07:47:46.562" v="8749" actId="20577"/>
          <ac:spMkLst>
            <pc:docMk/>
            <pc:sldMk cId="1157339580" sldId="336"/>
            <ac:spMk id="13" creationId="{31A098C0-85D4-AA46-93D8-E024E5A7E0AD}"/>
          </ac:spMkLst>
        </pc:spChg>
        <pc:spChg chg="add mod">
          <ac:chgData name="Ito Koichi" userId="7c59a57e28e385d5" providerId="LiveId" clId="{7BE1A0C3-347C-9343-AD50-5497B70087AB}" dt="2022-02-06T07:48:12.763" v="8781" actId="20577"/>
          <ac:spMkLst>
            <pc:docMk/>
            <pc:sldMk cId="1157339580" sldId="336"/>
            <ac:spMk id="16" creationId="{3135DF9F-9B95-D845-AFDC-FBE7DE7038D9}"/>
          </ac:spMkLst>
        </pc:spChg>
        <pc:picChg chg="del">
          <ac:chgData name="Ito Koichi" userId="7c59a57e28e385d5" providerId="LiveId" clId="{7BE1A0C3-347C-9343-AD50-5497B70087AB}" dt="2022-02-06T07:43:08.027" v="8653" actId="478"/>
          <ac:picMkLst>
            <pc:docMk/>
            <pc:sldMk cId="1157339580" sldId="336"/>
            <ac:picMk id="3" creationId="{49C9BBA2-056C-A046-A020-7B8C023039EB}"/>
          </ac:picMkLst>
        </pc:picChg>
        <pc:picChg chg="add mod modCrop">
          <ac:chgData name="Ito Koichi" userId="7c59a57e28e385d5" providerId="LiveId" clId="{7BE1A0C3-347C-9343-AD50-5497B70087AB}" dt="2022-02-06T07:45:21.259" v="8672" actId="1076"/>
          <ac:picMkLst>
            <pc:docMk/>
            <pc:sldMk cId="1157339580" sldId="336"/>
            <ac:picMk id="6" creationId="{C95D8C77-DC79-7542-91E3-DDE827A32829}"/>
          </ac:picMkLst>
        </pc:picChg>
        <pc:picChg chg="del">
          <ac:chgData name="Ito Koichi" userId="7c59a57e28e385d5" providerId="LiveId" clId="{7BE1A0C3-347C-9343-AD50-5497B70087AB}" dt="2022-02-06T07:44:39.571" v="8661" actId="478"/>
          <ac:picMkLst>
            <pc:docMk/>
            <pc:sldMk cId="1157339580" sldId="336"/>
            <ac:picMk id="7" creationId="{9942146A-E537-914E-9D4A-AD763B78DF0C}"/>
          </ac:picMkLst>
        </pc:picChg>
        <pc:picChg chg="add mod modCrop">
          <ac:chgData name="Ito Koichi" userId="7c59a57e28e385d5" providerId="LiveId" clId="{7BE1A0C3-347C-9343-AD50-5497B70087AB}" dt="2022-02-06T07:45:46.957" v="8675" actId="1076"/>
          <ac:picMkLst>
            <pc:docMk/>
            <pc:sldMk cId="1157339580" sldId="336"/>
            <ac:picMk id="8" creationId="{CC13D3DF-0C74-4A49-849A-58F73E8293CD}"/>
          </ac:picMkLst>
        </pc:picChg>
        <pc:picChg chg="del mod">
          <ac:chgData name="Ito Koichi" userId="7c59a57e28e385d5" providerId="LiveId" clId="{7BE1A0C3-347C-9343-AD50-5497B70087AB}" dt="2022-02-06T07:44:25.352" v="8659" actId="478"/>
          <ac:picMkLst>
            <pc:docMk/>
            <pc:sldMk cId="1157339580" sldId="336"/>
            <ac:picMk id="9" creationId="{B7E5A767-2B11-0541-91EB-4960F06B08F2}"/>
          </ac:picMkLst>
        </pc:picChg>
        <pc:picChg chg="add mod modCrop">
          <ac:chgData name="Ito Koichi" userId="7c59a57e28e385d5" providerId="LiveId" clId="{7BE1A0C3-347C-9343-AD50-5497B70087AB}" dt="2022-02-06T07:47:48.864" v="8750" actId="1076"/>
          <ac:picMkLst>
            <pc:docMk/>
            <pc:sldMk cId="1157339580" sldId="336"/>
            <ac:picMk id="10" creationId="{40BF923B-18EB-1B4E-A17A-69B4CCE11C8C}"/>
          </ac:picMkLst>
        </pc:picChg>
        <pc:cxnChg chg="add del mod">
          <ac:chgData name="Ito Koichi" userId="7c59a57e28e385d5" providerId="LiveId" clId="{7BE1A0C3-347C-9343-AD50-5497B70087AB}" dt="2022-02-06T07:48:58.070" v="8799" actId="478"/>
          <ac:cxnSpMkLst>
            <pc:docMk/>
            <pc:sldMk cId="1157339580" sldId="336"/>
            <ac:cxnSpMk id="15" creationId="{B9C61FF1-2CC1-A944-B286-A7C392629E6B}"/>
          </ac:cxnSpMkLst>
        </pc:cxnChg>
        <pc:cxnChg chg="add del mod">
          <ac:chgData name="Ito Koichi" userId="7c59a57e28e385d5" providerId="LiveId" clId="{7BE1A0C3-347C-9343-AD50-5497B70087AB}" dt="2022-02-06T07:49:02.434" v="8801" actId="14100"/>
          <ac:cxnSpMkLst>
            <pc:docMk/>
            <pc:sldMk cId="1157339580" sldId="336"/>
            <ac:cxnSpMk id="17" creationId="{904E901A-4EA4-4544-B580-246A9E1167D0}"/>
          </ac:cxnSpMkLst>
        </pc:cxnChg>
      </pc:sldChg>
      <pc:sldChg chg="addSp delSp modSp add mod">
        <pc:chgData name="Ito Koichi" userId="7c59a57e28e385d5" providerId="LiveId" clId="{7BE1A0C3-347C-9343-AD50-5497B70087AB}" dt="2022-02-06T08:14:34.206" v="8859" actId="20577"/>
        <pc:sldMkLst>
          <pc:docMk/>
          <pc:sldMk cId="2592558059" sldId="337"/>
        </pc:sldMkLst>
        <pc:spChg chg="mod">
          <ac:chgData name="Ito Koichi" userId="7c59a57e28e385d5" providerId="LiveId" clId="{7BE1A0C3-347C-9343-AD50-5497B70087AB}" dt="2022-02-06T08:10:32.260" v="8805" actId="20577"/>
          <ac:spMkLst>
            <pc:docMk/>
            <pc:sldMk cId="2592558059" sldId="337"/>
            <ac:spMk id="2" creationId="{18C0CF12-81D5-0D4F-A24F-3BAC5546F0A4}"/>
          </ac:spMkLst>
        </pc:spChg>
        <pc:spChg chg="mod">
          <ac:chgData name="Ito Koichi" userId="7c59a57e28e385d5" providerId="LiveId" clId="{7BE1A0C3-347C-9343-AD50-5497B70087AB}" dt="2022-02-06T08:14:23.686" v="8843" actId="20577"/>
          <ac:spMkLst>
            <pc:docMk/>
            <pc:sldMk cId="2592558059" sldId="337"/>
            <ac:spMk id="12" creationId="{6C4D14E5-AC69-324F-BEAB-5729B4821F2E}"/>
          </ac:spMkLst>
        </pc:spChg>
        <pc:spChg chg="mod">
          <ac:chgData name="Ito Koichi" userId="7c59a57e28e385d5" providerId="LiveId" clId="{7BE1A0C3-347C-9343-AD50-5497B70087AB}" dt="2022-02-06T08:14:34.206" v="8859" actId="20577"/>
          <ac:spMkLst>
            <pc:docMk/>
            <pc:sldMk cId="2592558059" sldId="337"/>
            <ac:spMk id="16" creationId="{3135DF9F-9B95-D845-AFDC-FBE7DE7038D9}"/>
          </ac:spMkLst>
        </pc:spChg>
        <pc:picChg chg="add mod modCrop">
          <ac:chgData name="Ito Koichi" userId="7c59a57e28e385d5" providerId="LiveId" clId="{7BE1A0C3-347C-9343-AD50-5497B70087AB}" dt="2022-02-06T08:13:55.011" v="8832" actId="1076"/>
          <ac:picMkLst>
            <pc:docMk/>
            <pc:sldMk cId="2592558059" sldId="337"/>
            <ac:picMk id="3" creationId="{41CA1FCE-8631-2243-9A6C-F8195313CBC7}"/>
          </ac:picMkLst>
        </pc:picChg>
        <pc:picChg chg="del">
          <ac:chgData name="Ito Koichi" userId="7c59a57e28e385d5" providerId="LiveId" clId="{7BE1A0C3-347C-9343-AD50-5497B70087AB}" dt="2022-02-06T08:11:40.068" v="8814" actId="478"/>
          <ac:picMkLst>
            <pc:docMk/>
            <pc:sldMk cId="2592558059" sldId="337"/>
            <ac:picMk id="6" creationId="{C95D8C77-DC79-7542-91E3-DDE827A32829}"/>
          </ac:picMkLst>
        </pc:picChg>
        <pc:picChg chg="add mod">
          <ac:chgData name="Ito Koichi" userId="7c59a57e28e385d5" providerId="LiveId" clId="{7BE1A0C3-347C-9343-AD50-5497B70087AB}" dt="2022-02-06T08:13:19.595" v="8823" actId="1076"/>
          <ac:picMkLst>
            <pc:docMk/>
            <pc:sldMk cId="2592558059" sldId="337"/>
            <ac:picMk id="7" creationId="{5DB98CEC-B902-F542-AB38-E895A456F6E7}"/>
          </ac:picMkLst>
        </pc:picChg>
        <pc:picChg chg="del">
          <ac:chgData name="Ito Koichi" userId="7c59a57e28e385d5" providerId="LiveId" clId="{7BE1A0C3-347C-9343-AD50-5497B70087AB}" dt="2022-02-06T08:13:14.902" v="8822" actId="478"/>
          <ac:picMkLst>
            <pc:docMk/>
            <pc:sldMk cId="2592558059" sldId="337"/>
            <ac:picMk id="8" creationId="{CC13D3DF-0C74-4A49-849A-58F73E8293CD}"/>
          </ac:picMkLst>
        </pc:picChg>
        <pc:picChg chg="add mod modCrop">
          <ac:chgData name="Ito Koichi" userId="7c59a57e28e385d5" providerId="LiveId" clId="{7BE1A0C3-347C-9343-AD50-5497B70087AB}" dt="2022-02-06T08:13:48.349" v="8831" actId="1076"/>
          <ac:picMkLst>
            <pc:docMk/>
            <pc:sldMk cId="2592558059" sldId="337"/>
            <ac:picMk id="9" creationId="{1CBA57AB-0A77-6644-B866-437A2D50853E}"/>
          </ac:picMkLst>
        </pc:picChg>
        <pc:picChg chg="del mod">
          <ac:chgData name="Ito Koichi" userId="7c59a57e28e385d5" providerId="LiveId" clId="{7BE1A0C3-347C-9343-AD50-5497B70087AB}" dt="2022-02-06T08:13:44.664" v="8830" actId="478"/>
          <ac:picMkLst>
            <pc:docMk/>
            <pc:sldMk cId="2592558059" sldId="337"/>
            <ac:picMk id="10" creationId="{40BF923B-18EB-1B4E-A17A-69B4CCE11C8C}"/>
          </ac:picMkLst>
        </pc:picChg>
      </pc:sldChg>
      <pc:sldChg chg="addSp delSp modSp add mod">
        <pc:chgData name="Ito Koichi" userId="7c59a57e28e385d5" providerId="LiveId" clId="{7BE1A0C3-347C-9343-AD50-5497B70087AB}" dt="2022-02-07T02:37:11.252" v="9004" actId="20577"/>
        <pc:sldMkLst>
          <pc:docMk/>
          <pc:sldMk cId="4007988906" sldId="338"/>
        </pc:sldMkLst>
        <pc:spChg chg="mod">
          <ac:chgData name="Ito Koichi" userId="7c59a57e28e385d5" providerId="LiveId" clId="{7BE1A0C3-347C-9343-AD50-5497B70087AB}" dt="2022-02-07T02:32:51.854" v="8918" actId="20577"/>
          <ac:spMkLst>
            <pc:docMk/>
            <pc:sldMk cId="4007988906" sldId="338"/>
            <ac:spMk id="2" creationId="{18C0CF12-81D5-0D4F-A24F-3BAC5546F0A4}"/>
          </ac:spMkLst>
        </pc:spChg>
        <pc:spChg chg="mod">
          <ac:chgData name="Ito Koichi" userId="7c59a57e28e385d5" providerId="LiveId" clId="{7BE1A0C3-347C-9343-AD50-5497B70087AB}" dt="2022-02-07T02:37:11.252" v="9004" actId="20577"/>
          <ac:spMkLst>
            <pc:docMk/>
            <pc:sldMk cId="4007988906" sldId="338"/>
            <ac:spMk id="12" creationId="{6C4D14E5-AC69-324F-BEAB-5729B4821F2E}"/>
          </ac:spMkLst>
        </pc:spChg>
        <pc:spChg chg="mod">
          <ac:chgData name="Ito Koichi" userId="7c59a57e28e385d5" providerId="LiveId" clId="{7BE1A0C3-347C-9343-AD50-5497B70087AB}" dt="2022-02-07T02:36:54.055" v="8979" actId="20577"/>
          <ac:spMkLst>
            <pc:docMk/>
            <pc:sldMk cId="4007988906" sldId="338"/>
            <ac:spMk id="13" creationId="{31A098C0-85D4-AA46-93D8-E024E5A7E0AD}"/>
          </ac:spMkLst>
        </pc:spChg>
        <pc:spChg chg="mod">
          <ac:chgData name="Ito Koichi" userId="7c59a57e28e385d5" providerId="LiveId" clId="{7BE1A0C3-347C-9343-AD50-5497B70087AB}" dt="2022-02-07T02:36:57.655" v="8981" actId="20577"/>
          <ac:spMkLst>
            <pc:docMk/>
            <pc:sldMk cId="4007988906" sldId="338"/>
            <ac:spMk id="16" creationId="{3135DF9F-9B95-D845-AFDC-FBE7DE7038D9}"/>
          </ac:spMkLst>
        </pc:spChg>
        <pc:picChg chg="del">
          <ac:chgData name="Ito Koichi" userId="7c59a57e28e385d5" providerId="LiveId" clId="{7BE1A0C3-347C-9343-AD50-5497B70087AB}" dt="2022-02-07T02:33:11.937" v="8919" actId="478"/>
          <ac:picMkLst>
            <pc:docMk/>
            <pc:sldMk cId="4007988906" sldId="338"/>
            <ac:picMk id="3" creationId="{41CA1FCE-8631-2243-9A6C-F8195313CBC7}"/>
          </ac:picMkLst>
        </pc:picChg>
        <pc:picChg chg="add mod modCrop">
          <ac:chgData name="Ito Koichi" userId="7c59a57e28e385d5" providerId="LiveId" clId="{7BE1A0C3-347C-9343-AD50-5497B70087AB}" dt="2022-02-07T02:35:46.778" v="8953" actId="1076"/>
          <ac:picMkLst>
            <pc:docMk/>
            <pc:sldMk cId="4007988906" sldId="338"/>
            <ac:picMk id="6" creationId="{3994B19C-2E33-7149-B29C-34EB477EDBAB}"/>
          </ac:picMkLst>
        </pc:picChg>
        <pc:picChg chg="del">
          <ac:chgData name="Ito Koichi" userId="7c59a57e28e385d5" providerId="LiveId" clId="{7BE1A0C3-347C-9343-AD50-5497B70087AB}" dt="2022-02-07T02:33:11.937" v="8919" actId="478"/>
          <ac:picMkLst>
            <pc:docMk/>
            <pc:sldMk cId="4007988906" sldId="338"/>
            <ac:picMk id="7" creationId="{5DB98CEC-B902-F542-AB38-E895A456F6E7}"/>
          </ac:picMkLst>
        </pc:picChg>
        <pc:picChg chg="add mod modCrop">
          <ac:chgData name="Ito Koichi" userId="7c59a57e28e385d5" providerId="LiveId" clId="{7BE1A0C3-347C-9343-AD50-5497B70087AB}" dt="2022-02-07T02:35:46.778" v="8953" actId="1076"/>
          <ac:picMkLst>
            <pc:docMk/>
            <pc:sldMk cId="4007988906" sldId="338"/>
            <ac:picMk id="8" creationId="{216674CF-B575-864E-BCF1-136E5085E67A}"/>
          </ac:picMkLst>
        </pc:picChg>
        <pc:picChg chg="del">
          <ac:chgData name="Ito Koichi" userId="7c59a57e28e385d5" providerId="LiveId" clId="{7BE1A0C3-347C-9343-AD50-5497B70087AB}" dt="2022-02-07T02:33:50.596" v="8931" actId="478"/>
          <ac:picMkLst>
            <pc:docMk/>
            <pc:sldMk cId="4007988906" sldId="338"/>
            <ac:picMk id="9" creationId="{1CBA57AB-0A77-6644-B866-437A2D50853E}"/>
          </ac:picMkLst>
        </pc:picChg>
        <pc:picChg chg="add mod modCrop">
          <ac:chgData name="Ito Koichi" userId="7c59a57e28e385d5" providerId="LiveId" clId="{7BE1A0C3-347C-9343-AD50-5497B70087AB}" dt="2022-02-07T02:36:28.706" v="8960" actId="1076"/>
          <ac:picMkLst>
            <pc:docMk/>
            <pc:sldMk cId="4007988906" sldId="338"/>
            <ac:picMk id="10" creationId="{914156B0-223F-B641-8D58-741A6FE7C150}"/>
          </ac:picMkLst>
        </pc:picChg>
      </pc:sldChg>
      <pc:sldChg chg="addSp delSp modSp add mod">
        <pc:chgData name="Ito Koichi" userId="7c59a57e28e385d5" providerId="LiveId" clId="{7BE1A0C3-347C-9343-AD50-5497B70087AB}" dt="2022-02-07T02:51:12.961" v="9054" actId="1076"/>
        <pc:sldMkLst>
          <pc:docMk/>
          <pc:sldMk cId="1211257722" sldId="339"/>
        </pc:sldMkLst>
        <pc:spChg chg="mod">
          <ac:chgData name="Ito Koichi" userId="7c59a57e28e385d5" providerId="LiveId" clId="{7BE1A0C3-347C-9343-AD50-5497B70087AB}" dt="2022-02-07T02:46:45.974" v="9008" actId="20577"/>
          <ac:spMkLst>
            <pc:docMk/>
            <pc:sldMk cId="1211257722" sldId="339"/>
            <ac:spMk id="2" creationId="{18C0CF12-81D5-0D4F-A24F-3BAC5546F0A4}"/>
          </ac:spMkLst>
        </pc:spChg>
        <pc:spChg chg="mod">
          <ac:chgData name="Ito Koichi" userId="7c59a57e28e385d5" providerId="LiveId" clId="{7BE1A0C3-347C-9343-AD50-5497B70087AB}" dt="2022-02-07T02:50:33.466" v="9025" actId="20577"/>
          <ac:spMkLst>
            <pc:docMk/>
            <pc:sldMk cId="1211257722" sldId="339"/>
            <ac:spMk id="12" creationId="{6C4D14E5-AC69-324F-BEAB-5729B4821F2E}"/>
          </ac:spMkLst>
        </pc:spChg>
        <pc:spChg chg="mod">
          <ac:chgData name="Ito Koichi" userId="7c59a57e28e385d5" providerId="LiveId" clId="{7BE1A0C3-347C-9343-AD50-5497B70087AB}" dt="2022-02-07T02:50:56.439" v="9049" actId="20577"/>
          <ac:spMkLst>
            <pc:docMk/>
            <pc:sldMk cId="1211257722" sldId="339"/>
            <ac:spMk id="13" creationId="{31A098C0-85D4-AA46-93D8-E024E5A7E0AD}"/>
          </ac:spMkLst>
        </pc:spChg>
        <pc:picChg chg="add mod modCrop">
          <ac:chgData name="Ito Koichi" userId="7c59a57e28e385d5" providerId="LiveId" clId="{7BE1A0C3-347C-9343-AD50-5497B70087AB}" dt="2022-02-07T02:50:41.627" v="9028" actId="1076"/>
          <ac:picMkLst>
            <pc:docMk/>
            <pc:sldMk cId="1211257722" sldId="339"/>
            <ac:picMk id="3" creationId="{2C4032E4-7429-2D44-9797-593DD11F8065}"/>
          </ac:picMkLst>
        </pc:picChg>
        <pc:picChg chg="del">
          <ac:chgData name="Ito Koichi" userId="7c59a57e28e385d5" providerId="LiveId" clId="{7BE1A0C3-347C-9343-AD50-5497B70087AB}" dt="2022-02-07T02:48:19.012" v="9011" actId="478"/>
          <ac:picMkLst>
            <pc:docMk/>
            <pc:sldMk cId="1211257722" sldId="339"/>
            <ac:picMk id="6" creationId="{2C56F2ED-F9D9-6242-BD09-738E3D8E4280}"/>
          </ac:picMkLst>
        </pc:picChg>
        <pc:picChg chg="add mod modCrop">
          <ac:chgData name="Ito Koichi" userId="7c59a57e28e385d5" providerId="LiveId" clId="{7BE1A0C3-347C-9343-AD50-5497B70087AB}" dt="2022-02-07T02:51:12.961" v="9054" actId="1076"/>
          <ac:picMkLst>
            <pc:docMk/>
            <pc:sldMk cId="1211257722" sldId="339"/>
            <ac:picMk id="7" creationId="{852659C8-7B9F-9B49-A819-7FD842318647}"/>
          </ac:picMkLst>
        </pc:picChg>
        <pc:picChg chg="del">
          <ac:chgData name="Ito Koichi" userId="7c59a57e28e385d5" providerId="LiveId" clId="{7BE1A0C3-347C-9343-AD50-5497B70087AB}" dt="2022-02-07T02:50:44.483" v="9029" actId="478"/>
          <ac:picMkLst>
            <pc:docMk/>
            <pc:sldMk cId="1211257722" sldId="339"/>
            <ac:picMk id="8" creationId="{892F2077-7536-9A4E-A549-3775903F2935}"/>
          </ac:picMkLst>
        </pc:picChg>
      </pc:sldChg>
      <pc:sldChg chg="addSp delSp modSp add mod">
        <pc:chgData name="Ito Koichi" userId="7c59a57e28e385d5" providerId="LiveId" clId="{7BE1A0C3-347C-9343-AD50-5497B70087AB}" dt="2022-02-07T02:53:58.328" v="9092" actId="1076"/>
        <pc:sldMkLst>
          <pc:docMk/>
          <pc:sldMk cId="2869113427" sldId="340"/>
        </pc:sldMkLst>
        <pc:spChg chg="mod">
          <ac:chgData name="Ito Koichi" userId="7c59a57e28e385d5" providerId="LiveId" clId="{7BE1A0C3-347C-9343-AD50-5497B70087AB}" dt="2022-02-07T02:51:37.026" v="9056"/>
          <ac:spMkLst>
            <pc:docMk/>
            <pc:sldMk cId="2869113427" sldId="340"/>
            <ac:spMk id="2" creationId="{18C0CF12-81D5-0D4F-A24F-3BAC5546F0A4}"/>
          </ac:spMkLst>
        </pc:spChg>
        <pc:spChg chg="del">
          <ac:chgData name="Ito Koichi" userId="7c59a57e28e385d5" providerId="LiveId" clId="{7BE1A0C3-347C-9343-AD50-5497B70087AB}" dt="2022-02-07T02:51:43.713" v="9058" actId="478"/>
          <ac:spMkLst>
            <pc:docMk/>
            <pc:sldMk cId="2869113427" sldId="340"/>
            <ac:spMk id="7" creationId="{726EACEF-83EB-C249-AEE0-7E735D27208C}"/>
          </ac:spMkLst>
        </pc:spChg>
        <pc:spChg chg="del">
          <ac:chgData name="Ito Koichi" userId="7c59a57e28e385d5" providerId="LiveId" clId="{7BE1A0C3-347C-9343-AD50-5497B70087AB}" dt="2022-02-07T02:51:41.448" v="9057" actId="478"/>
          <ac:spMkLst>
            <pc:docMk/>
            <pc:sldMk cId="2869113427" sldId="340"/>
            <ac:spMk id="9" creationId="{11AE8FD6-28B8-E047-BDD4-CA697AEDA5F6}"/>
          </ac:spMkLst>
        </pc:spChg>
        <pc:spChg chg="del">
          <ac:chgData name="Ito Koichi" userId="7c59a57e28e385d5" providerId="LiveId" clId="{7BE1A0C3-347C-9343-AD50-5497B70087AB}" dt="2022-02-07T02:51:48.481" v="9060" actId="478"/>
          <ac:spMkLst>
            <pc:docMk/>
            <pc:sldMk cId="2869113427" sldId="340"/>
            <ac:spMk id="10" creationId="{C8182ED3-6F7C-E745-8DE3-556B6469DAB5}"/>
          </ac:spMkLst>
        </pc:spChg>
        <pc:spChg chg="del">
          <ac:chgData name="Ito Koichi" userId="7c59a57e28e385d5" providerId="LiveId" clId="{7BE1A0C3-347C-9343-AD50-5497B70087AB}" dt="2022-02-07T02:51:45.648" v="9059" actId="478"/>
          <ac:spMkLst>
            <pc:docMk/>
            <pc:sldMk cId="2869113427" sldId="340"/>
            <ac:spMk id="11" creationId="{E50EADCA-CE8B-D24B-A647-60C021402BD5}"/>
          </ac:spMkLst>
        </pc:spChg>
        <pc:picChg chg="add mod modCrop">
          <ac:chgData name="Ito Koichi" userId="7c59a57e28e385d5" providerId="LiveId" clId="{7BE1A0C3-347C-9343-AD50-5497B70087AB}" dt="2022-02-07T02:53:45.137" v="9089" actId="1076"/>
          <ac:picMkLst>
            <pc:docMk/>
            <pc:sldMk cId="2869113427" sldId="340"/>
            <ac:picMk id="3" creationId="{A51E28B3-3C6E-994E-9BC2-0B107E2377EF}"/>
          </ac:picMkLst>
        </pc:picChg>
        <pc:picChg chg="add mod modCrop">
          <ac:chgData name="Ito Koichi" userId="7c59a57e28e385d5" providerId="LiveId" clId="{7BE1A0C3-347C-9343-AD50-5497B70087AB}" dt="2022-02-07T02:53:48.207" v="9090" actId="1076"/>
          <ac:picMkLst>
            <pc:docMk/>
            <pc:sldMk cId="2869113427" sldId="340"/>
            <ac:picMk id="6" creationId="{AD4131FF-BC02-0149-8D48-217931AD6013}"/>
          </ac:picMkLst>
        </pc:picChg>
        <pc:picChg chg="add mod modCrop">
          <ac:chgData name="Ito Koichi" userId="7c59a57e28e385d5" providerId="LiveId" clId="{7BE1A0C3-347C-9343-AD50-5497B70087AB}" dt="2022-02-07T02:53:55.733" v="9091" actId="1076"/>
          <ac:picMkLst>
            <pc:docMk/>
            <pc:sldMk cId="2869113427" sldId="340"/>
            <ac:picMk id="12" creationId="{177D2BCB-EE23-904E-B58C-6B1C40E53AF0}"/>
          </ac:picMkLst>
        </pc:picChg>
        <pc:picChg chg="del">
          <ac:chgData name="Ito Koichi" userId="7c59a57e28e385d5" providerId="LiveId" clId="{7BE1A0C3-347C-9343-AD50-5497B70087AB}" dt="2022-02-07T02:51:43.713" v="9058" actId="478"/>
          <ac:picMkLst>
            <pc:docMk/>
            <pc:sldMk cId="2869113427" sldId="340"/>
            <ac:picMk id="14" creationId="{D1F5D850-FCC4-8D4C-91A0-9DFA814FEB34}"/>
          </ac:picMkLst>
        </pc:picChg>
        <pc:picChg chg="add mod modCrop">
          <ac:chgData name="Ito Koichi" userId="7c59a57e28e385d5" providerId="LiveId" clId="{7BE1A0C3-347C-9343-AD50-5497B70087AB}" dt="2022-02-07T02:53:58.328" v="9092" actId="1076"/>
          <ac:picMkLst>
            <pc:docMk/>
            <pc:sldMk cId="2869113427" sldId="340"/>
            <ac:picMk id="15" creationId="{E8668082-2D11-4241-8144-91EE44B2711C}"/>
          </ac:picMkLst>
        </pc:picChg>
        <pc:picChg chg="del">
          <ac:chgData name="Ito Koichi" userId="7c59a57e28e385d5" providerId="LiveId" clId="{7BE1A0C3-347C-9343-AD50-5497B70087AB}" dt="2022-02-07T02:51:41.448" v="9057" actId="478"/>
          <ac:picMkLst>
            <pc:docMk/>
            <pc:sldMk cId="2869113427" sldId="340"/>
            <ac:picMk id="16" creationId="{7274D8B4-B818-4B44-B2D7-6139C6F73BA2}"/>
          </ac:picMkLst>
        </pc:picChg>
        <pc:picChg chg="del">
          <ac:chgData name="Ito Koichi" userId="7c59a57e28e385d5" providerId="LiveId" clId="{7BE1A0C3-347C-9343-AD50-5497B70087AB}" dt="2022-02-07T02:51:45.648" v="9059" actId="478"/>
          <ac:picMkLst>
            <pc:docMk/>
            <pc:sldMk cId="2869113427" sldId="340"/>
            <ac:picMk id="18" creationId="{5DC01CDA-C748-284C-8B5F-0D819D4E8FB6}"/>
          </ac:picMkLst>
        </pc:picChg>
      </pc:sldChg>
      <pc:sldChg chg="addSp delSp modSp add mod">
        <pc:chgData name="Ito Koichi" userId="7c59a57e28e385d5" providerId="LiveId" clId="{7BE1A0C3-347C-9343-AD50-5497B70087AB}" dt="2022-02-07T03:00:32.499" v="9140" actId="1076"/>
        <pc:sldMkLst>
          <pc:docMk/>
          <pc:sldMk cId="4032969113" sldId="341"/>
        </pc:sldMkLst>
        <pc:picChg chg="del">
          <ac:chgData name="Ito Koichi" userId="7c59a57e28e385d5" providerId="LiveId" clId="{7BE1A0C3-347C-9343-AD50-5497B70087AB}" dt="2022-02-07T02:57:50.399" v="9110" actId="478"/>
          <ac:picMkLst>
            <pc:docMk/>
            <pc:sldMk cId="4032969113" sldId="341"/>
            <ac:picMk id="3" creationId="{A51E28B3-3C6E-994E-9BC2-0B107E2377EF}"/>
          </ac:picMkLst>
        </pc:picChg>
        <pc:picChg chg="del">
          <ac:chgData name="Ito Koichi" userId="7c59a57e28e385d5" providerId="LiveId" clId="{7BE1A0C3-347C-9343-AD50-5497B70087AB}" dt="2022-02-07T02:58:37.244" v="9119" actId="478"/>
          <ac:picMkLst>
            <pc:docMk/>
            <pc:sldMk cId="4032969113" sldId="341"/>
            <ac:picMk id="6" creationId="{AD4131FF-BC02-0149-8D48-217931AD6013}"/>
          </ac:picMkLst>
        </pc:picChg>
        <pc:picChg chg="add mod modCrop">
          <ac:chgData name="Ito Koichi" userId="7c59a57e28e385d5" providerId="LiveId" clId="{7BE1A0C3-347C-9343-AD50-5497B70087AB}" dt="2022-02-07T02:58:09.088" v="9113" actId="1076"/>
          <ac:picMkLst>
            <pc:docMk/>
            <pc:sldMk cId="4032969113" sldId="341"/>
            <ac:picMk id="7" creationId="{CE90258F-2D6A-AD43-9C5F-4939A339DE08}"/>
          </ac:picMkLst>
        </pc:picChg>
        <pc:picChg chg="add mod modCrop">
          <ac:chgData name="Ito Koichi" userId="7c59a57e28e385d5" providerId="LiveId" clId="{7BE1A0C3-347C-9343-AD50-5497B70087AB}" dt="2022-02-07T02:58:44.760" v="9121" actId="1076"/>
          <ac:picMkLst>
            <pc:docMk/>
            <pc:sldMk cId="4032969113" sldId="341"/>
            <ac:picMk id="9" creationId="{F6FE218F-A365-7342-8DE9-CBF656FE55EC}"/>
          </ac:picMkLst>
        </pc:picChg>
        <pc:picChg chg="add mod modCrop">
          <ac:chgData name="Ito Koichi" userId="7c59a57e28e385d5" providerId="LiveId" clId="{7BE1A0C3-347C-9343-AD50-5497B70087AB}" dt="2022-02-07T02:59:41.325" v="9130" actId="1076"/>
          <ac:picMkLst>
            <pc:docMk/>
            <pc:sldMk cId="4032969113" sldId="341"/>
            <ac:picMk id="10" creationId="{C48C3F53-D6E2-114D-AA9D-0B7574C5B8B5}"/>
          </ac:picMkLst>
        </pc:picChg>
        <pc:picChg chg="add mod modCrop">
          <ac:chgData name="Ito Koichi" userId="7c59a57e28e385d5" providerId="LiveId" clId="{7BE1A0C3-347C-9343-AD50-5497B70087AB}" dt="2022-02-07T03:00:32.499" v="9140" actId="1076"/>
          <ac:picMkLst>
            <pc:docMk/>
            <pc:sldMk cId="4032969113" sldId="341"/>
            <ac:picMk id="11" creationId="{95F0DA39-97AF-8A4B-B64A-97E00348F3B8}"/>
          </ac:picMkLst>
        </pc:picChg>
        <pc:picChg chg="del">
          <ac:chgData name="Ito Koichi" userId="7c59a57e28e385d5" providerId="LiveId" clId="{7BE1A0C3-347C-9343-AD50-5497B70087AB}" dt="2022-02-07T02:59:26.517" v="9127" actId="478"/>
          <ac:picMkLst>
            <pc:docMk/>
            <pc:sldMk cId="4032969113" sldId="341"/>
            <ac:picMk id="12" creationId="{177D2BCB-EE23-904E-B58C-6B1C40E53AF0}"/>
          </ac:picMkLst>
        </pc:picChg>
        <pc:picChg chg="del">
          <ac:chgData name="Ito Koichi" userId="7c59a57e28e385d5" providerId="LiveId" clId="{7BE1A0C3-347C-9343-AD50-5497B70087AB}" dt="2022-02-07T03:00:04.137" v="9136" actId="478"/>
          <ac:picMkLst>
            <pc:docMk/>
            <pc:sldMk cId="4032969113" sldId="341"/>
            <ac:picMk id="15" creationId="{E8668082-2D11-4241-8144-91EE44B2711C}"/>
          </ac:picMkLst>
        </pc:picChg>
      </pc:sldChg>
      <pc:sldChg chg="addSp delSp modSp add mod">
        <pc:chgData name="Ito Koichi" userId="7c59a57e28e385d5" providerId="LiveId" clId="{7BE1A0C3-347C-9343-AD50-5497B70087AB}" dt="2022-02-07T03:07:29.820" v="9190" actId="1076"/>
        <pc:sldMkLst>
          <pc:docMk/>
          <pc:sldMk cId="2976533686" sldId="342"/>
        </pc:sldMkLst>
        <pc:picChg chg="del">
          <ac:chgData name="Ito Koichi" userId="7c59a57e28e385d5" providerId="LiveId" clId="{7BE1A0C3-347C-9343-AD50-5497B70087AB}" dt="2022-02-07T03:04:15.790" v="9160" actId="478"/>
          <ac:picMkLst>
            <pc:docMk/>
            <pc:sldMk cId="2976533686" sldId="342"/>
            <ac:picMk id="3" creationId="{A51E28B3-3C6E-994E-9BC2-0B107E2377EF}"/>
          </ac:picMkLst>
        </pc:picChg>
        <pc:picChg chg="del">
          <ac:chgData name="Ito Koichi" userId="7c59a57e28e385d5" providerId="LiveId" clId="{7BE1A0C3-347C-9343-AD50-5497B70087AB}" dt="2022-02-07T03:04:49.998" v="9170" actId="478"/>
          <ac:picMkLst>
            <pc:docMk/>
            <pc:sldMk cId="2976533686" sldId="342"/>
            <ac:picMk id="6" creationId="{AD4131FF-BC02-0149-8D48-217931AD6013}"/>
          </ac:picMkLst>
        </pc:picChg>
        <pc:picChg chg="add mod modCrop">
          <ac:chgData name="Ito Koichi" userId="7c59a57e28e385d5" providerId="LiveId" clId="{7BE1A0C3-347C-9343-AD50-5497B70087AB}" dt="2022-02-07T03:04:28.392" v="9163" actId="1076"/>
          <ac:picMkLst>
            <pc:docMk/>
            <pc:sldMk cId="2976533686" sldId="342"/>
            <ac:picMk id="7" creationId="{AE4B9C6E-C04E-484B-8597-11FF3C553B96}"/>
          </ac:picMkLst>
        </pc:picChg>
        <pc:picChg chg="add mod modCrop">
          <ac:chgData name="Ito Koichi" userId="7c59a57e28e385d5" providerId="LiveId" clId="{7BE1A0C3-347C-9343-AD50-5497B70087AB}" dt="2022-02-07T03:04:55.984" v="9172" actId="1076"/>
          <ac:picMkLst>
            <pc:docMk/>
            <pc:sldMk cId="2976533686" sldId="342"/>
            <ac:picMk id="9" creationId="{19DCB535-49E8-EB47-8A8C-6F6E96BB9A91}"/>
          </ac:picMkLst>
        </pc:picChg>
        <pc:picChg chg="add mod modCrop">
          <ac:chgData name="Ito Koichi" userId="7c59a57e28e385d5" providerId="LiveId" clId="{7BE1A0C3-347C-9343-AD50-5497B70087AB}" dt="2022-02-07T03:06:21.523" v="9178" actId="1076"/>
          <ac:picMkLst>
            <pc:docMk/>
            <pc:sldMk cId="2976533686" sldId="342"/>
            <ac:picMk id="10" creationId="{C02BEB45-EA89-0E41-8E81-9F58B4317D2D}"/>
          </ac:picMkLst>
        </pc:picChg>
        <pc:picChg chg="add mod modCrop">
          <ac:chgData name="Ito Koichi" userId="7c59a57e28e385d5" providerId="LiveId" clId="{7BE1A0C3-347C-9343-AD50-5497B70087AB}" dt="2022-02-07T03:07:29.820" v="9190" actId="1076"/>
          <ac:picMkLst>
            <pc:docMk/>
            <pc:sldMk cId="2976533686" sldId="342"/>
            <ac:picMk id="11" creationId="{05B6E224-55C8-BC4E-8739-6E82E7513B37}"/>
          </ac:picMkLst>
        </pc:picChg>
        <pc:picChg chg="del mod">
          <ac:chgData name="Ito Koichi" userId="7c59a57e28e385d5" providerId="LiveId" clId="{7BE1A0C3-347C-9343-AD50-5497B70087AB}" dt="2022-02-07T03:06:15.943" v="9177" actId="478"/>
          <ac:picMkLst>
            <pc:docMk/>
            <pc:sldMk cId="2976533686" sldId="342"/>
            <ac:picMk id="12" creationId="{177D2BCB-EE23-904E-B58C-6B1C40E53AF0}"/>
          </ac:picMkLst>
        </pc:picChg>
        <pc:picChg chg="del">
          <ac:chgData name="Ito Koichi" userId="7c59a57e28e385d5" providerId="LiveId" clId="{7BE1A0C3-347C-9343-AD50-5497B70087AB}" dt="2022-02-07T03:06:22.952" v="9179" actId="478"/>
          <ac:picMkLst>
            <pc:docMk/>
            <pc:sldMk cId="2976533686" sldId="342"/>
            <ac:picMk id="15" creationId="{E8668082-2D11-4241-8144-91EE44B2711C}"/>
          </ac:picMkLst>
        </pc:picChg>
      </pc:sldChg>
      <pc:sldChg chg="addSp delSp modSp add mod">
        <pc:chgData name="Ito Koichi" userId="7c59a57e28e385d5" providerId="LiveId" clId="{7BE1A0C3-347C-9343-AD50-5497B70087AB}" dt="2022-02-07T03:36:42.816" v="9217" actId="22"/>
        <pc:sldMkLst>
          <pc:docMk/>
          <pc:sldMk cId="3354946574" sldId="343"/>
        </pc:sldMkLst>
        <pc:spChg chg="add mod">
          <ac:chgData name="Ito Koichi" userId="7c59a57e28e385d5" providerId="LiveId" clId="{7BE1A0C3-347C-9343-AD50-5497B70087AB}" dt="2022-02-07T03:11:24.698" v="9215" actId="20577"/>
          <ac:spMkLst>
            <pc:docMk/>
            <pc:sldMk cId="3354946574" sldId="343"/>
            <ac:spMk id="14" creationId="{4F18B7E7-0131-484B-A38B-E48F06BEB1CB}"/>
          </ac:spMkLst>
        </pc:spChg>
        <pc:spChg chg="add del">
          <ac:chgData name="Ito Koichi" userId="7c59a57e28e385d5" providerId="LiveId" clId="{7BE1A0C3-347C-9343-AD50-5497B70087AB}" dt="2022-02-07T03:36:42.816" v="9217" actId="22"/>
          <ac:spMkLst>
            <pc:docMk/>
            <pc:sldMk cId="3354946574" sldId="343"/>
            <ac:spMk id="16" creationId="{1EF2502B-78CC-5447-983B-9CFD75FDBC1D}"/>
          </ac:spMkLst>
        </pc:spChg>
        <pc:picChg chg="del">
          <ac:chgData name="Ito Koichi" userId="7c59a57e28e385d5" providerId="LiveId" clId="{7BE1A0C3-347C-9343-AD50-5497B70087AB}" dt="2022-02-07T03:10:26.335" v="9192" actId="478"/>
          <ac:picMkLst>
            <pc:docMk/>
            <pc:sldMk cId="3354946574" sldId="343"/>
            <ac:picMk id="3" creationId="{A51E28B3-3C6E-994E-9BC2-0B107E2377EF}"/>
          </ac:picMkLst>
        </pc:picChg>
        <pc:picChg chg="del">
          <ac:chgData name="Ito Koichi" userId="7c59a57e28e385d5" providerId="LiveId" clId="{7BE1A0C3-347C-9343-AD50-5497B70087AB}" dt="2022-02-07T03:10:27.832" v="9193" actId="478"/>
          <ac:picMkLst>
            <pc:docMk/>
            <pc:sldMk cId="3354946574" sldId="343"/>
            <ac:picMk id="6" creationId="{AD4131FF-BC02-0149-8D48-217931AD6013}"/>
          </ac:picMkLst>
        </pc:picChg>
        <pc:picChg chg="add mod modCrop">
          <ac:chgData name="Ito Koichi" userId="7c59a57e28e385d5" providerId="LiveId" clId="{7BE1A0C3-347C-9343-AD50-5497B70087AB}" dt="2022-02-07T03:10:56.151" v="9197" actId="1076"/>
          <ac:picMkLst>
            <pc:docMk/>
            <pc:sldMk cId="3354946574" sldId="343"/>
            <ac:picMk id="7" creationId="{7BD85EDA-3504-AD49-8D78-7604D5BAADAA}"/>
          </ac:picMkLst>
        </pc:picChg>
        <pc:picChg chg="del">
          <ac:chgData name="Ito Koichi" userId="7c59a57e28e385d5" providerId="LiveId" clId="{7BE1A0C3-347C-9343-AD50-5497B70087AB}" dt="2022-02-07T03:10:26.335" v="9192" actId="478"/>
          <ac:picMkLst>
            <pc:docMk/>
            <pc:sldMk cId="3354946574" sldId="343"/>
            <ac:picMk id="12" creationId="{177D2BCB-EE23-904E-B58C-6B1C40E53AF0}"/>
          </ac:picMkLst>
        </pc:picChg>
        <pc:picChg chg="del">
          <ac:chgData name="Ito Koichi" userId="7c59a57e28e385d5" providerId="LiveId" clId="{7BE1A0C3-347C-9343-AD50-5497B70087AB}" dt="2022-02-07T03:10:27.832" v="9193" actId="478"/>
          <ac:picMkLst>
            <pc:docMk/>
            <pc:sldMk cId="3354946574" sldId="343"/>
            <ac:picMk id="15" creationId="{E8668082-2D11-4241-8144-91EE44B2711C}"/>
          </ac:picMkLst>
        </pc:picChg>
        <pc:cxnChg chg="del">
          <ac:chgData name="Ito Koichi" userId="7c59a57e28e385d5" providerId="LiveId" clId="{7BE1A0C3-347C-9343-AD50-5497B70087AB}" dt="2022-02-07T03:10:26.335" v="9192" actId="478"/>
          <ac:cxnSpMkLst>
            <pc:docMk/>
            <pc:sldMk cId="3354946574" sldId="343"/>
            <ac:cxnSpMk id="8" creationId="{A58C18FD-2B03-F642-8729-838FF160FC40}"/>
          </ac:cxnSpMkLst>
        </pc:cxnChg>
        <pc:cxnChg chg="del">
          <ac:chgData name="Ito Koichi" userId="7c59a57e28e385d5" providerId="LiveId" clId="{7BE1A0C3-347C-9343-AD50-5497B70087AB}" dt="2022-02-07T03:10:26.335" v="9192" actId="478"/>
          <ac:cxnSpMkLst>
            <pc:docMk/>
            <pc:sldMk cId="3354946574" sldId="343"/>
            <ac:cxnSpMk id="13" creationId="{A017306C-F8F0-B04F-A118-EB7ADEBE332F}"/>
          </ac:cxnSpMkLst>
        </pc:cxnChg>
      </pc:sldChg>
      <pc:sldChg chg="addSp delSp modSp add mod">
        <pc:chgData name="Ito Koichi" userId="7c59a57e28e385d5" providerId="LiveId" clId="{7BE1A0C3-347C-9343-AD50-5497B70087AB}" dt="2022-02-07T03:57:21.985" v="9369" actId="1076"/>
        <pc:sldMkLst>
          <pc:docMk/>
          <pc:sldMk cId="2553378438" sldId="344"/>
        </pc:sldMkLst>
        <pc:spChg chg="mod">
          <ac:chgData name="Ito Koichi" userId="7c59a57e28e385d5" providerId="LiveId" clId="{7BE1A0C3-347C-9343-AD50-5497B70087AB}" dt="2022-02-07T03:37:04.521" v="9236" actId="20577"/>
          <ac:spMkLst>
            <pc:docMk/>
            <pc:sldMk cId="2553378438" sldId="344"/>
            <ac:spMk id="2" creationId="{18C0CF12-81D5-0D4F-A24F-3BAC5546F0A4}"/>
          </ac:spMkLst>
        </pc:spChg>
        <pc:spChg chg="del">
          <ac:chgData name="Ito Koichi" userId="7c59a57e28e385d5" providerId="LiveId" clId="{7BE1A0C3-347C-9343-AD50-5497B70087AB}" dt="2022-02-07T03:37:41.586" v="9238" actId="478"/>
          <ac:spMkLst>
            <pc:docMk/>
            <pc:sldMk cId="2553378438" sldId="344"/>
            <ac:spMk id="14" creationId="{4F18B7E7-0131-484B-A38B-E48F06BEB1CB}"/>
          </ac:spMkLst>
        </pc:spChg>
        <pc:spChg chg="add mod">
          <ac:chgData name="Ito Koichi" userId="7c59a57e28e385d5" providerId="LiveId" clId="{7BE1A0C3-347C-9343-AD50-5497B70087AB}" dt="2022-02-07T03:57:10.824" v="9367" actId="20577"/>
          <ac:spMkLst>
            <pc:docMk/>
            <pc:sldMk cId="2553378438" sldId="344"/>
            <ac:spMk id="15" creationId="{826DB648-3838-EF44-8FC6-597E9F4F6140}"/>
          </ac:spMkLst>
        </pc:spChg>
        <pc:grpChg chg="add del mod">
          <ac:chgData name="Ito Koichi" userId="7c59a57e28e385d5" providerId="LiveId" clId="{7BE1A0C3-347C-9343-AD50-5497B70087AB}" dt="2022-02-07T03:54:56.679" v="9306" actId="165"/>
          <ac:grpSpMkLst>
            <pc:docMk/>
            <pc:sldMk cId="2553378438" sldId="344"/>
            <ac:grpSpMk id="10" creationId="{0E0867C1-99EC-5F49-AAED-4309306B3664}"/>
          </ac:grpSpMkLst>
        </pc:grpChg>
        <pc:picChg chg="add del">
          <ac:chgData name="Ito Koichi" userId="7c59a57e28e385d5" providerId="LiveId" clId="{7BE1A0C3-347C-9343-AD50-5497B70087AB}" dt="2022-02-07T03:36:57.243" v="9220"/>
          <ac:picMkLst>
            <pc:docMk/>
            <pc:sldMk cId="2553378438" sldId="344"/>
            <ac:picMk id="3" creationId="{8414191A-4E55-5C44-962E-4DFADA499BE0}"/>
          </ac:picMkLst>
        </pc:picChg>
        <pc:picChg chg="add mod topLvl modCrop">
          <ac:chgData name="Ito Koichi" userId="7c59a57e28e385d5" providerId="LiveId" clId="{7BE1A0C3-347C-9343-AD50-5497B70087AB}" dt="2022-02-07T03:55:14.776" v="9312" actId="1076"/>
          <ac:picMkLst>
            <pc:docMk/>
            <pc:sldMk cId="2553378438" sldId="344"/>
            <ac:picMk id="6" creationId="{489AC98D-D9ED-9B48-AAE8-920A3CA7C040}"/>
          </ac:picMkLst>
        </pc:picChg>
        <pc:picChg chg="del">
          <ac:chgData name="Ito Koichi" userId="7c59a57e28e385d5" providerId="LiveId" clId="{7BE1A0C3-347C-9343-AD50-5497B70087AB}" dt="2022-02-07T03:37:36.854" v="9237" actId="478"/>
          <ac:picMkLst>
            <pc:docMk/>
            <pc:sldMk cId="2553378438" sldId="344"/>
            <ac:picMk id="7" creationId="{7BD85EDA-3504-AD49-8D78-7604D5BAADAA}"/>
          </ac:picMkLst>
        </pc:picChg>
        <pc:picChg chg="add del mod topLvl modCrop">
          <ac:chgData name="Ito Koichi" userId="7c59a57e28e385d5" providerId="LiveId" clId="{7BE1A0C3-347C-9343-AD50-5497B70087AB}" dt="2022-02-07T03:54:59.662" v="9307" actId="478"/>
          <ac:picMkLst>
            <pc:docMk/>
            <pc:sldMk cId="2553378438" sldId="344"/>
            <ac:picMk id="9" creationId="{1BED73D0-A360-3B45-B227-CF8CB39DD98A}"/>
          </ac:picMkLst>
        </pc:picChg>
        <pc:picChg chg="add mod modCrop">
          <ac:chgData name="Ito Koichi" userId="7c59a57e28e385d5" providerId="LiveId" clId="{7BE1A0C3-347C-9343-AD50-5497B70087AB}" dt="2022-02-07T03:57:21.985" v="9369" actId="1076"/>
          <ac:picMkLst>
            <pc:docMk/>
            <pc:sldMk cId="2553378438" sldId="344"/>
            <ac:picMk id="11" creationId="{8914FA1E-C237-4947-A095-0CFE9B46834A}"/>
          </ac:picMkLst>
        </pc:picChg>
        <pc:picChg chg="add mod modCrop">
          <ac:chgData name="Ito Koichi" userId="7c59a57e28e385d5" providerId="LiveId" clId="{7BE1A0C3-347C-9343-AD50-5497B70087AB}" dt="2022-02-07T03:57:21.985" v="9369" actId="1076"/>
          <ac:picMkLst>
            <pc:docMk/>
            <pc:sldMk cId="2553378438" sldId="344"/>
            <ac:picMk id="12" creationId="{7CDBD31C-DD27-414A-AA48-0C4B0B9428D5}"/>
          </ac:picMkLst>
        </pc:picChg>
        <pc:cxnChg chg="add mod">
          <ac:chgData name="Ito Koichi" userId="7c59a57e28e385d5" providerId="LiveId" clId="{7BE1A0C3-347C-9343-AD50-5497B70087AB}" dt="2022-02-07T03:37:48.680" v="9239"/>
          <ac:cxnSpMkLst>
            <pc:docMk/>
            <pc:sldMk cId="2553378438" sldId="344"/>
            <ac:cxnSpMk id="8" creationId="{EAF6CAED-965B-2946-90ED-0C4C78D1AF17}"/>
          </ac:cxnSpMkLst>
        </pc:cxnChg>
      </pc:sldChg>
      <pc:sldChg chg="addSp delSp modSp add mod">
        <pc:chgData name="Ito Koichi" userId="7c59a57e28e385d5" providerId="LiveId" clId="{7BE1A0C3-347C-9343-AD50-5497B70087AB}" dt="2022-02-07T05:09:22.397" v="9470" actId="20577"/>
        <pc:sldMkLst>
          <pc:docMk/>
          <pc:sldMk cId="2358782502" sldId="345"/>
        </pc:sldMkLst>
        <pc:spChg chg="add mod">
          <ac:chgData name="Ito Koichi" userId="7c59a57e28e385d5" providerId="LiveId" clId="{7BE1A0C3-347C-9343-AD50-5497B70087AB}" dt="2022-02-07T05:09:22.397" v="9470" actId="20577"/>
          <ac:spMkLst>
            <pc:docMk/>
            <pc:sldMk cId="2358782502" sldId="345"/>
            <ac:spMk id="13" creationId="{0B0103E5-0A96-7C44-A589-FB060215E84A}"/>
          </ac:spMkLst>
        </pc:spChg>
        <pc:spChg chg="mod">
          <ac:chgData name="Ito Koichi" userId="7c59a57e28e385d5" providerId="LiveId" clId="{7BE1A0C3-347C-9343-AD50-5497B70087AB}" dt="2022-02-07T05:08:47.875" v="9412" actId="20577"/>
          <ac:spMkLst>
            <pc:docMk/>
            <pc:sldMk cId="2358782502" sldId="345"/>
            <ac:spMk id="15" creationId="{826DB648-3838-EF44-8FC6-597E9F4F6140}"/>
          </ac:spMkLst>
        </pc:spChg>
        <pc:picChg chg="add mod modCrop">
          <ac:chgData name="Ito Koichi" userId="7c59a57e28e385d5" providerId="LiveId" clId="{7BE1A0C3-347C-9343-AD50-5497B70087AB}" dt="2022-02-07T05:06:53.098" v="9383" actId="1076"/>
          <ac:picMkLst>
            <pc:docMk/>
            <pc:sldMk cId="2358782502" sldId="345"/>
            <ac:picMk id="3" creationId="{7BF31179-A838-5649-9ECE-E743A00A8665}"/>
          </ac:picMkLst>
        </pc:picChg>
        <pc:picChg chg="del">
          <ac:chgData name="Ito Koichi" userId="7c59a57e28e385d5" providerId="LiveId" clId="{7BE1A0C3-347C-9343-AD50-5497B70087AB}" dt="2022-02-07T05:06:25.770" v="9378" actId="478"/>
          <ac:picMkLst>
            <pc:docMk/>
            <pc:sldMk cId="2358782502" sldId="345"/>
            <ac:picMk id="6" creationId="{489AC98D-D9ED-9B48-AAE8-920A3CA7C040}"/>
          </ac:picMkLst>
        </pc:picChg>
        <pc:picChg chg="add mod modCrop">
          <ac:chgData name="Ito Koichi" userId="7c59a57e28e385d5" providerId="LiveId" clId="{7BE1A0C3-347C-9343-AD50-5497B70087AB}" dt="2022-02-07T05:09:16.735" v="9452" actId="1076"/>
          <ac:picMkLst>
            <pc:docMk/>
            <pc:sldMk cId="2358782502" sldId="345"/>
            <ac:picMk id="7" creationId="{53258D6C-D1F4-E440-9FE5-2BA5C0E4E160}"/>
          </ac:picMkLst>
        </pc:picChg>
        <pc:picChg chg="del">
          <ac:chgData name="Ito Koichi" userId="7c59a57e28e385d5" providerId="LiveId" clId="{7BE1A0C3-347C-9343-AD50-5497B70087AB}" dt="2022-02-07T05:07:17.632" v="9384" actId="478"/>
          <ac:picMkLst>
            <pc:docMk/>
            <pc:sldMk cId="2358782502" sldId="345"/>
            <ac:picMk id="11" creationId="{8914FA1E-C237-4947-A095-0CFE9B46834A}"/>
          </ac:picMkLst>
        </pc:picChg>
        <pc:picChg chg="del">
          <ac:chgData name="Ito Koichi" userId="7c59a57e28e385d5" providerId="LiveId" clId="{7BE1A0C3-347C-9343-AD50-5497B70087AB}" dt="2022-02-07T05:07:17.632" v="9384" actId="478"/>
          <ac:picMkLst>
            <pc:docMk/>
            <pc:sldMk cId="2358782502" sldId="345"/>
            <ac:picMk id="12" creationId="{7CDBD31C-DD27-414A-AA48-0C4B0B9428D5}"/>
          </ac:picMkLst>
        </pc:picChg>
      </pc:sldChg>
      <pc:sldChg chg="addSp delSp modSp add mod ord">
        <pc:chgData name="Ito Koichi" userId="7c59a57e28e385d5" providerId="LiveId" clId="{7BE1A0C3-347C-9343-AD50-5497B70087AB}" dt="2022-02-07T05:26:43.505" v="9566" actId="20578"/>
        <pc:sldMkLst>
          <pc:docMk/>
          <pc:sldMk cId="1411732116" sldId="346"/>
        </pc:sldMkLst>
        <pc:spChg chg="mod">
          <ac:chgData name="Ito Koichi" userId="7c59a57e28e385d5" providerId="LiveId" clId="{7BE1A0C3-347C-9343-AD50-5497B70087AB}" dt="2022-02-07T05:11:24.795" v="9512"/>
          <ac:spMkLst>
            <pc:docMk/>
            <pc:sldMk cId="1411732116" sldId="346"/>
            <ac:spMk id="13" creationId="{0B0103E5-0A96-7C44-A589-FB060215E84A}"/>
          </ac:spMkLst>
        </pc:spChg>
        <pc:spChg chg="mod">
          <ac:chgData name="Ito Koichi" userId="7c59a57e28e385d5" providerId="LiveId" clId="{7BE1A0C3-347C-9343-AD50-5497B70087AB}" dt="2022-02-07T05:10:25.330" v="9510" actId="20577"/>
          <ac:spMkLst>
            <pc:docMk/>
            <pc:sldMk cId="1411732116" sldId="346"/>
            <ac:spMk id="15" creationId="{826DB648-3838-EF44-8FC6-597E9F4F6140}"/>
          </ac:spMkLst>
        </pc:spChg>
        <pc:picChg chg="del">
          <ac:chgData name="Ito Koichi" userId="7c59a57e28e385d5" providerId="LiveId" clId="{7BE1A0C3-347C-9343-AD50-5497B70087AB}" dt="2022-02-07T05:10:13.809" v="9483" actId="478"/>
          <ac:picMkLst>
            <pc:docMk/>
            <pc:sldMk cId="1411732116" sldId="346"/>
            <ac:picMk id="3" creationId="{7BF31179-A838-5649-9ECE-E743A00A8665}"/>
          </ac:picMkLst>
        </pc:picChg>
        <pc:picChg chg="add del mod">
          <ac:chgData name="Ito Koichi" userId="7c59a57e28e385d5" providerId="LiveId" clId="{7BE1A0C3-347C-9343-AD50-5497B70087AB}" dt="2022-02-07T05:10:28.601" v="9511" actId="1076"/>
          <ac:picMkLst>
            <pc:docMk/>
            <pc:sldMk cId="1411732116" sldId="346"/>
            <ac:picMk id="6" creationId="{161F233A-9D91-5A43-B224-6D8C4C63769F}"/>
          </ac:picMkLst>
        </pc:picChg>
        <pc:picChg chg="del mod">
          <ac:chgData name="Ito Koichi" userId="7c59a57e28e385d5" providerId="LiveId" clId="{7BE1A0C3-347C-9343-AD50-5497B70087AB}" dt="2022-02-07T05:11:52.182" v="9522" actId="478"/>
          <ac:picMkLst>
            <pc:docMk/>
            <pc:sldMk cId="1411732116" sldId="346"/>
            <ac:picMk id="7" creationId="{53258D6C-D1F4-E440-9FE5-2BA5C0E4E160}"/>
          </ac:picMkLst>
        </pc:picChg>
        <pc:picChg chg="add mod modCrop">
          <ac:chgData name="Ito Koichi" userId="7c59a57e28e385d5" providerId="LiveId" clId="{7BE1A0C3-347C-9343-AD50-5497B70087AB}" dt="2022-02-07T05:11:55.478" v="9523" actId="1076"/>
          <ac:picMkLst>
            <pc:docMk/>
            <pc:sldMk cId="1411732116" sldId="346"/>
            <ac:picMk id="9" creationId="{871B1632-2B1C-BC4A-8A8D-780B3DB933E9}"/>
          </ac:picMkLst>
        </pc:picChg>
      </pc:sldChg>
      <pc:sldChg chg="addSp delSp modSp add del mod ord">
        <pc:chgData name="Ito Koichi" userId="7c59a57e28e385d5" providerId="LiveId" clId="{7BE1A0C3-347C-9343-AD50-5497B70087AB}" dt="2022-02-07T05:18:04.765" v="9564" actId="2696"/>
        <pc:sldMkLst>
          <pc:docMk/>
          <pc:sldMk cId="1285359770" sldId="347"/>
        </pc:sldMkLst>
        <pc:picChg chg="del">
          <ac:chgData name="Ito Koichi" userId="7c59a57e28e385d5" providerId="LiveId" clId="{7BE1A0C3-347C-9343-AD50-5497B70087AB}" dt="2022-02-07T05:12:24.057" v="9529" actId="478"/>
          <ac:picMkLst>
            <pc:docMk/>
            <pc:sldMk cId="1285359770" sldId="347"/>
            <ac:picMk id="3" creationId="{7BF31179-A838-5649-9ECE-E743A00A8665}"/>
          </ac:picMkLst>
        </pc:picChg>
        <pc:picChg chg="add mod modCrop">
          <ac:chgData name="Ito Koichi" userId="7c59a57e28e385d5" providerId="LiveId" clId="{7BE1A0C3-347C-9343-AD50-5497B70087AB}" dt="2022-02-07T05:12:27.734" v="9530" actId="1076"/>
          <ac:picMkLst>
            <pc:docMk/>
            <pc:sldMk cId="1285359770" sldId="347"/>
            <ac:picMk id="6" creationId="{21D51BF6-CB89-474B-905D-0786DF26E42C}"/>
          </ac:picMkLst>
        </pc:picChg>
      </pc:sldChg>
      <pc:sldChg chg="addSp delSp modSp add mod ord">
        <pc:chgData name="Ito Koichi" userId="7c59a57e28e385d5" providerId="LiveId" clId="{7BE1A0C3-347C-9343-AD50-5497B70087AB}" dt="2022-02-07T05:42:30.957" v="9644"/>
        <pc:sldMkLst>
          <pc:docMk/>
          <pc:sldMk cId="2894643259" sldId="348"/>
        </pc:sldMkLst>
        <pc:spChg chg="mod">
          <ac:chgData name="Ito Koichi" userId="7c59a57e28e385d5" providerId="LiveId" clId="{7BE1A0C3-347C-9343-AD50-5497B70087AB}" dt="2022-02-07T05:42:30.957" v="9644"/>
          <ac:spMkLst>
            <pc:docMk/>
            <pc:sldMk cId="2894643259" sldId="348"/>
            <ac:spMk id="2" creationId="{18C0CF12-81D5-0D4F-A24F-3BAC5546F0A4}"/>
          </ac:spMkLst>
        </pc:spChg>
        <pc:picChg chg="add mod modCrop">
          <ac:chgData name="Ito Koichi" userId="7c59a57e28e385d5" providerId="LiveId" clId="{7BE1A0C3-347C-9343-AD50-5497B70087AB}" dt="2022-02-07T05:16:16.456" v="9547" actId="1076"/>
          <ac:picMkLst>
            <pc:docMk/>
            <pc:sldMk cId="2894643259" sldId="348"/>
            <ac:picMk id="3" creationId="{BB0B0B61-56DC-CA42-B549-FD5ADB80C689}"/>
          </ac:picMkLst>
        </pc:picChg>
        <pc:picChg chg="add mod modCrop">
          <ac:chgData name="Ito Koichi" userId="7c59a57e28e385d5" providerId="LiveId" clId="{7BE1A0C3-347C-9343-AD50-5497B70087AB}" dt="2022-02-07T05:16:36.126" v="9553" actId="1076"/>
          <ac:picMkLst>
            <pc:docMk/>
            <pc:sldMk cId="2894643259" sldId="348"/>
            <ac:picMk id="6" creationId="{C872FDEB-E92A-594F-B60C-48214247227D}"/>
          </ac:picMkLst>
        </pc:picChg>
        <pc:picChg chg="del">
          <ac:chgData name="Ito Koichi" userId="7c59a57e28e385d5" providerId="LiveId" clId="{7BE1A0C3-347C-9343-AD50-5497B70087AB}" dt="2022-02-07T05:13:01.913" v="9532" actId="478"/>
          <ac:picMkLst>
            <pc:docMk/>
            <pc:sldMk cId="2894643259" sldId="348"/>
            <ac:picMk id="7" creationId="{CE90258F-2D6A-AD43-9C5F-4939A339DE08}"/>
          </ac:picMkLst>
        </pc:picChg>
        <pc:picChg chg="del">
          <ac:chgData name="Ito Koichi" userId="7c59a57e28e385d5" providerId="LiveId" clId="{7BE1A0C3-347C-9343-AD50-5497B70087AB}" dt="2022-02-07T05:13:01.913" v="9532" actId="478"/>
          <ac:picMkLst>
            <pc:docMk/>
            <pc:sldMk cId="2894643259" sldId="348"/>
            <ac:picMk id="9" creationId="{F6FE218F-A365-7342-8DE9-CBF656FE55EC}"/>
          </ac:picMkLst>
        </pc:picChg>
        <pc:picChg chg="del">
          <ac:chgData name="Ito Koichi" userId="7c59a57e28e385d5" providerId="LiveId" clId="{7BE1A0C3-347C-9343-AD50-5497B70087AB}" dt="2022-02-07T05:13:01.913" v="9532" actId="478"/>
          <ac:picMkLst>
            <pc:docMk/>
            <pc:sldMk cId="2894643259" sldId="348"/>
            <ac:picMk id="10" creationId="{C48C3F53-D6E2-114D-AA9D-0B7574C5B8B5}"/>
          </ac:picMkLst>
        </pc:picChg>
        <pc:picChg chg="del">
          <ac:chgData name="Ito Koichi" userId="7c59a57e28e385d5" providerId="LiveId" clId="{7BE1A0C3-347C-9343-AD50-5497B70087AB}" dt="2022-02-07T05:13:01.913" v="9532" actId="478"/>
          <ac:picMkLst>
            <pc:docMk/>
            <pc:sldMk cId="2894643259" sldId="348"/>
            <ac:picMk id="11" creationId="{95F0DA39-97AF-8A4B-B64A-97E00348F3B8}"/>
          </ac:picMkLst>
        </pc:picChg>
        <pc:picChg chg="add mod modCrop">
          <ac:chgData name="Ito Koichi" userId="7c59a57e28e385d5" providerId="LiveId" clId="{7BE1A0C3-347C-9343-AD50-5497B70087AB}" dt="2022-02-07T05:17:13.501" v="9558" actId="1076"/>
          <ac:picMkLst>
            <pc:docMk/>
            <pc:sldMk cId="2894643259" sldId="348"/>
            <ac:picMk id="12" creationId="{5D0FD201-EFB7-814F-99E9-21CBA0BA052E}"/>
          </ac:picMkLst>
        </pc:picChg>
        <pc:picChg chg="add mod modCrop">
          <ac:chgData name="Ito Koichi" userId="7c59a57e28e385d5" providerId="LiveId" clId="{7BE1A0C3-347C-9343-AD50-5497B70087AB}" dt="2022-02-07T05:17:32.829" v="9562" actId="1076"/>
          <ac:picMkLst>
            <pc:docMk/>
            <pc:sldMk cId="2894643259" sldId="348"/>
            <ac:picMk id="14" creationId="{35D3B78E-D921-4746-8666-F07E734E0953}"/>
          </ac:picMkLst>
        </pc:picChg>
      </pc:sldChg>
      <pc:sldChg chg="addSp delSp modSp add mod">
        <pc:chgData name="Ito Koichi" userId="7c59a57e28e385d5" providerId="LiveId" clId="{7BE1A0C3-347C-9343-AD50-5497B70087AB}" dt="2022-02-07T05:44:21.632" v="9688" actId="1076"/>
        <pc:sldMkLst>
          <pc:docMk/>
          <pc:sldMk cId="674571283" sldId="349"/>
        </pc:sldMkLst>
        <pc:spChg chg="del">
          <ac:chgData name="Ito Koichi" userId="7c59a57e28e385d5" providerId="LiveId" clId="{7BE1A0C3-347C-9343-AD50-5497B70087AB}" dt="2022-02-07T05:34:46.960" v="9604" actId="478"/>
          <ac:spMkLst>
            <pc:docMk/>
            <pc:sldMk cId="674571283" sldId="349"/>
            <ac:spMk id="13" creationId="{0B0103E5-0A96-7C44-A589-FB060215E84A}"/>
          </ac:spMkLst>
        </pc:spChg>
        <pc:spChg chg="del mod">
          <ac:chgData name="Ito Koichi" userId="7c59a57e28e385d5" providerId="LiveId" clId="{7BE1A0C3-347C-9343-AD50-5497B70087AB}" dt="2022-02-07T05:42:39.576" v="9646" actId="478"/>
          <ac:spMkLst>
            <pc:docMk/>
            <pc:sldMk cId="674571283" sldId="349"/>
            <ac:spMk id="15" creationId="{826DB648-3838-EF44-8FC6-597E9F4F6140}"/>
          </ac:spMkLst>
        </pc:spChg>
        <pc:spChg chg="add mod">
          <ac:chgData name="Ito Koichi" userId="7c59a57e28e385d5" providerId="LiveId" clId="{7BE1A0C3-347C-9343-AD50-5497B70087AB}" dt="2022-02-07T05:44:21.632" v="9688" actId="1076"/>
          <ac:spMkLst>
            <pc:docMk/>
            <pc:sldMk cId="674571283" sldId="349"/>
            <ac:spMk id="16" creationId="{25BBD28C-37B6-014C-A5AA-391760B20BE0}"/>
          </ac:spMkLst>
        </pc:spChg>
        <pc:picChg chg="add del mod modCrop">
          <ac:chgData name="Ito Koichi" userId="7c59a57e28e385d5" providerId="LiveId" clId="{7BE1A0C3-347C-9343-AD50-5497B70087AB}" dt="2022-02-07T05:35:14.187" v="9609" actId="478"/>
          <ac:picMkLst>
            <pc:docMk/>
            <pc:sldMk cId="674571283" sldId="349"/>
            <ac:picMk id="3" creationId="{C4ED4201-DB1A-0D49-9517-A0B97CBBC69D}"/>
          </ac:picMkLst>
        </pc:picChg>
        <pc:picChg chg="del">
          <ac:chgData name="Ito Koichi" userId="7c59a57e28e385d5" providerId="LiveId" clId="{7BE1A0C3-347C-9343-AD50-5497B70087AB}" dt="2022-02-07T05:33:59.254" v="9594" actId="478"/>
          <ac:picMkLst>
            <pc:docMk/>
            <pc:sldMk cId="674571283" sldId="349"/>
            <ac:picMk id="6" creationId="{161F233A-9D91-5A43-B224-6D8C4C63769F}"/>
          </ac:picMkLst>
        </pc:picChg>
        <pc:picChg chg="add mod modCrop">
          <ac:chgData name="Ito Koichi" userId="7c59a57e28e385d5" providerId="LiveId" clId="{7BE1A0C3-347C-9343-AD50-5497B70087AB}" dt="2022-02-07T05:43:28.163" v="9658" actId="1076"/>
          <ac:picMkLst>
            <pc:docMk/>
            <pc:sldMk cId="674571283" sldId="349"/>
            <ac:picMk id="7" creationId="{94D79045-2E0D-DF4E-88DF-C0C3FE1EBD7D}"/>
          </ac:picMkLst>
        </pc:picChg>
        <pc:picChg chg="del">
          <ac:chgData name="Ito Koichi" userId="7c59a57e28e385d5" providerId="LiveId" clId="{7BE1A0C3-347C-9343-AD50-5497B70087AB}" dt="2022-02-07T05:34:41.169" v="9602" actId="478"/>
          <ac:picMkLst>
            <pc:docMk/>
            <pc:sldMk cId="674571283" sldId="349"/>
            <ac:picMk id="9" creationId="{871B1632-2B1C-BC4A-8A8D-780B3DB933E9}"/>
          </ac:picMkLst>
        </pc:picChg>
        <pc:picChg chg="add mod modCrop">
          <ac:chgData name="Ito Koichi" userId="7c59a57e28e385d5" providerId="LiveId" clId="{7BE1A0C3-347C-9343-AD50-5497B70087AB}" dt="2022-02-07T05:43:31.439" v="9659" actId="1076"/>
          <ac:picMkLst>
            <pc:docMk/>
            <pc:sldMk cId="674571283" sldId="349"/>
            <ac:picMk id="10" creationId="{3194837F-B7CD-984E-A1DD-BD9AA0110E6C}"/>
          </ac:picMkLst>
        </pc:picChg>
        <pc:picChg chg="add mod modCrop">
          <ac:chgData name="Ito Koichi" userId="7c59a57e28e385d5" providerId="LiveId" clId="{7BE1A0C3-347C-9343-AD50-5497B70087AB}" dt="2022-02-07T05:43:59.041" v="9665" actId="732"/>
          <ac:picMkLst>
            <pc:docMk/>
            <pc:sldMk cId="674571283" sldId="349"/>
            <ac:picMk id="11" creationId="{B99F71FC-559F-4047-AFF2-B6CDBE9E569B}"/>
          </ac:picMkLst>
        </pc:picChg>
        <pc:cxnChg chg="mod">
          <ac:chgData name="Ito Koichi" userId="7c59a57e28e385d5" providerId="LiveId" clId="{7BE1A0C3-347C-9343-AD50-5497B70087AB}" dt="2022-02-07T05:43:49.693" v="9663" actId="14100"/>
          <ac:cxnSpMkLst>
            <pc:docMk/>
            <pc:sldMk cId="674571283" sldId="349"/>
            <ac:cxnSpMk id="8" creationId="{EAF6CAED-965B-2946-90ED-0C4C78D1AF17}"/>
          </ac:cxnSpMkLst>
        </pc:cxnChg>
      </pc:sldChg>
      <pc:sldChg chg="addSp delSp modSp add mod">
        <pc:chgData name="Ito Koichi" userId="7c59a57e28e385d5" providerId="LiveId" clId="{7BE1A0C3-347C-9343-AD50-5497B70087AB}" dt="2022-02-07T07:49:54.564" v="9921" actId="113"/>
        <pc:sldMkLst>
          <pc:docMk/>
          <pc:sldMk cId="1982333163" sldId="350"/>
        </pc:sldMkLst>
        <pc:spChg chg="mod">
          <ac:chgData name="Ito Koichi" userId="7c59a57e28e385d5" providerId="LiveId" clId="{7BE1A0C3-347C-9343-AD50-5497B70087AB}" dt="2022-02-07T05:42:34.440" v="9645"/>
          <ac:spMkLst>
            <pc:docMk/>
            <pc:sldMk cId="1982333163" sldId="350"/>
            <ac:spMk id="2" creationId="{18C0CF12-81D5-0D4F-A24F-3BAC5546F0A4}"/>
          </ac:spMkLst>
        </pc:spChg>
        <pc:spChg chg="add del mod">
          <ac:chgData name="Ito Koichi" userId="7c59a57e28e385d5" providerId="LiveId" clId="{7BE1A0C3-347C-9343-AD50-5497B70087AB}" dt="2022-02-07T06:17:13.893" v="9799" actId="21"/>
          <ac:spMkLst>
            <pc:docMk/>
            <pc:sldMk cId="1982333163" sldId="350"/>
            <ac:spMk id="11" creationId="{87034947-6739-CE46-ACDD-B8141D6C01F0}"/>
          </ac:spMkLst>
        </pc:spChg>
        <pc:spChg chg="add mod">
          <ac:chgData name="Ito Koichi" userId="7c59a57e28e385d5" providerId="LiveId" clId="{7BE1A0C3-347C-9343-AD50-5497B70087AB}" dt="2022-02-07T07:49:54.564" v="9921" actId="113"/>
          <ac:spMkLst>
            <pc:docMk/>
            <pc:sldMk cId="1982333163" sldId="350"/>
            <ac:spMk id="15" creationId="{CB3520D7-F296-4F49-B175-6DB1D2E2E349}"/>
          </ac:spMkLst>
        </pc:spChg>
        <pc:picChg chg="del">
          <ac:chgData name="Ito Koichi" userId="7c59a57e28e385d5" providerId="LiveId" clId="{7BE1A0C3-347C-9343-AD50-5497B70087AB}" dt="2022-02-07T05:35:04.049" v="9606" actId="478"/>
          <ac:picMkLst>
            <pc:docMk/>
            <pc:sldMk cId="1982333163" sldId="350"/>
            <ac:picMk id="3" creationId="{BB0B0B61-56DC-CA42-B549-FD5ADB80C689}"/>
          </ac:picMkLst>
        </pc:picChg>
        <pc:picChg chg="del">
          <ac:chgData name="Ito Koichi" userId="7c59a57e28e385d5" providerId="LiveId" clId="{7BE1A0C3-347C-9343-AD50-5497B70087AB}" dt="2022-02-07T05:36:01.499" v="9622" actId="478"/>
          <ac:picMkLst>
            <pc:docMk/>
            <pc:sldMk cId="1982333163" sldId="350"/>
            <ac:picMk id="6" creationId="{C872FDEB-E92A-594F-B60C-48214247227D}"/>
          </ac:picMkLst>
        </pc:picChg>
        <pc:picChg chg="add mod modCrop">
          <ac:chgData name="Ito Koichi" userId="7c59a57e28e385d5" providerId="LiveId" clId="{7BE1A0C3-347C-9343-AD50-5497B70087AB}" dt="2022-02-07T05:42:00.146" v="9643" actId="1076"/>
          <ac:picMkLst>
            <pc:docMk/>
            <pc:sldMk cId="1982333163" sldId="350"/>
            <ac:picMk id="7" creationId="{471B0276-88C1-9F42-9328-99C18D3CE2DB}"/>
          </ac:picMkLst>
        </pc:picChg>
        <pc:picChg chg="add mod modCrop">
          <ac:chgData name="Ito Koichi" userId="7c59a57e28e385d5" providerId="LiveId" clId="{7BE1A0C3-347C-9343-AD50-5497B70087AB}" dt="2022-02-07T05:36:43.860" v="9634" actId="1076"/>
          <ac:picMkLst>
            <pc:docMk/>
            <pc:sldMk cId="1982333163" sldId="350"/>
            <ac:picMk id="9" creationId="{C3B9E6DC-88BE-664C-A4F2-4723C038C869}"/>
          </ac:picMkLst>
        </pc:picChg>
        <pc:picChg chg="add mod modCrop">
          <ac:chgData name="Ito Koichi" userId="7c59a57e28e385d5" providerId="LiveId" clId="{7BE1A0C3-347C-9343-AD50-5497B70087AB}" dt="2022-02-07T05:37:15.566" v="9640" actId="1076"/>
          <ac:picMkLst>
            <pc:docMk/>
            <pc:sldMk cId="1982333163" sldId="350"/>
            <ac:picMk id="10" creationId="{1878CC8E-5043-D746-A1E5-9EB476B569FC}"/>
          </ac:picMkLst>
        </pc:picChg>
        <pc:picChg chg="del">
          <ac:chgData name="Ito Koichi" userId="7c59a57e28e385d5" providerId="LiveId" clId="{7BE1A0C3-347C-9343-AD50-5497B70087AB}" dt="2022-02-07T05:36:41.715" v="9633" actId="478"/>
          <ac:picMkLst>
            <pc:docMk/>
            <pc:sldMk cId="1982333163" sldId="350"/>
            <ac:picMk id="12" creationId="{5D0FD201-EFB7-814F-99E9-21CBA0BA052E}"/>
          </ac:picMkLst>
        </pc:picChg>
        <pc:picChg chg="del">
          <ac:chgData name="Ito Koichi" userId="7c59a57e28e385d5" providerId="LiveId" clId="{7BE1A0C3-347C-9343-AD50-5497B70087AB}" dt="2022-02-07T05:37:06.654" v="9639" actId="478"/>
          <ac:picMkLst>
            <pc:docMk/>
            <pc:sldMk cId="1982333163" sldId="350"/>
            <ac:picMk id="14" creationId="{35D3B78E-D921-4746-8666-F07E734E0953}"/>
          </ac:picMkLst>
        </pc:picChg>
      </pc:sldChg>
      <pc:sldChg chg="addSp delSp modSp add del mod">
        <pc:chgData name="Ito Koichi" userId="7c59a57e28e385d5" providerId="LiveId" clId="{7BE1A0C3-347C-9343-AD50-5497B70087AB}" dt="2022-02-07T06:18:09.286" v="9832" actId="2696"/>
        <pc:sldMkLst>
          <pc:docMk/>
          <pc:sldMk cId="3716336217" sldId="351"/>
        </pc:sldMkLst>
        <pc:spChg chg="mod">
          <ac:chgData name="Ito Koichi" userId="7c59a57e28e385d5" providerId="LiveId" clId="{7BE1A0C3-347C-9343-AD50-5497B70087AB}" dt="2022-02-07T05:46:02.087" v="9692" actId="20577"/>
          <ac:spMkLst>
            <pc:docMk/>
            <pc:sldMk cId="3716336217" sldId="351"/>
            <ac:spMk id="2" creationId="{18C0CF12-81D5-0D4F-A24F-3BAC5546F0A4}"/>
          </ac:spMkLst>
        </pc:spChg>
        <pc:spChg chg="del">
          <ac:chgData name="Ito Koichi" userId="7c59a57e28e385d5" providerId="LiveId" clId="{7BE1A0C3-347C-9343-AD50-5497B70087AB}" dt="2022-02-07T05:51:40.414" v="9718" actId="478"/>
          <ac:spMkLst>
            <pc:docMk/>
            <pc:sldMk cId="3716336217" sldId="351"/>
            <ac:spMk id="13" creationId="{0B0103E5-0A96-7C44-A589-FB060215E84A}"/>
          </ac:spMkLst>
        </pc:spChg>
        <pc:spChg chg="del">
          <ac:chgData name="Ito Koichi" userId="7c59a57e28e385d5" providerId="LiveId" clId="{7BE1A0C3-347C-9343-AD50-5497B70087AB}" dt="2022-02-07T05:50:45.958" v="9707" actId="478"/>
          <ac:spMkLst>
            <pc:docMk/>
            <pc:sldMk cId="3716336217" sldId="351"/>
            <ac:spMk id="15" creationId="{826DB648-3838-EF44-8FC6-597E9F4F6140}"/>
          </ac:spMkLst>
        </pc:spChg>
        <pc:picChg chg="add mod modCrop">
          <ac:chgData name="Ito Koichi" userId="7c59a57e28e385d5" providerId="LiveId" clId="{7BE1A0C3-347C-9343-AD50-5497B70087AB}" dt="2022-02-07T05:51:05.405" v="9711" actId="1076"/>
          <ac:picMkLst>
            <pc:docMk/>
            <pc:sldMk cId="3716336217" sldId="351"/>
            <ac:picMk id="3" creationId="{09479DC5-C1B0-754F-AD21-A6107DFD3D1F}"/>
          </ac:picMkLst>
        </pc:picChg>
        <pc:picChg chg="del">
          <ac:chgData name="Ito Koichi" userId="7c59a57e28e385d5" providerId="LiveId" clId="{7BE1A0C3-347C-9343-AD50-5497B70087AB}" dt="2022-02-07T05:46:06.378" v="9693" actId="478"/>
          <ac:picMkLst>
            <pc:docMk/>
            <pc:sldMk cId="3716336217" sldId="351"/>
            <ac:picMk id="6" creationId="{161F233A-9D91-5A43-B224-6D8C4C63769F}"/>
          </ac:picMkLst>
        </pc:picChg>
        <pc:picChg chg="add mod modCrop">
          <ac:chgData name="Ito Koichi" userId="7c59a57e28e385d5" providerId="LiveId" clId="{7BE1A0C3-347C-9343-AD50-5497B70087AB}" dt="2022-02-07T05:51:38.291" v="9717" actId="1076"/>
          <ac:picMkLst>
            <pc:docMk/>
            <pc:sldMk cId="3716336217" sldId="351"/>
            <ac:picMk id="7" creationId="{8E156BAA-BEBF-4744-B863-2D4198067629}"/>
          </ac:picMkLst>
        </pc:picChg>
        <pc:picChg chg="del">
          <ac:chgData name="Ito Koichi" userId="7c59a57e28e385d5" providerId="LiveId" clId="{7BE1A0C3-347C-9343-AD50-5497B70087AB}" dt="2022-02-07T05:46:06.378" v="9693" actId="478"/>
          <ac:picMkLst>
            <pc:docMk/>
            <pc:sldMk cId="3716336217" sldId="351"/>
            <ac:picMk id="9" creationId="{871B1632-2B1C-BC4A-8A8D-780B3DB933E9}"/>
          </ac:picMkLst>
        </pc:picChg>
      </pc:sldChg>
      <pc:sldChg chg="addSp delSp modSp add mod">
        <pc:chgData name="Ito Koichi" userId="7c59a57e28e385d5" providerId="LiveId" clId="{7BE1A0C3-347C-9343-AD50-5497B70087AB}" dt="2022-02-07T06:05:51.973" v="9782"/>
        <pc:sldMkLst>
          <pc:docMk/>
          <pc:sldMk cId="178818183" sldId="352"/>
        </pc:sldMkLst>
        <pc:spChg chg="mod">
          <ac:chgData name="Ito Koichi" userId="7c59a57e28e385d5" providerId="LiveId" clId="{7BE1A0C3-347C-9343-AD50-5497B70087AB}" dt="2022-02-07T05:52:20.188" v="9722" actId="20577"/>
          <ac:spMkLst>
            <pc:docMk/>
            <pc:sldMk cId="178818183" sldId="352"/>
            <ac:spMk id="2" creationId="{18C0CF12-81D5-0D4F-A24F-3BAC5546F0A4}"/>
          </ac:spMkLst>
        </pc:spChg>
        <pc:spChg chg="del">
          <ac:chgData name="Ito Koichi" userId="7c59a57e28e385d5" providerId="LiveId" clId="{7BE1A0C3-347C-9343-AD50-5497B70087AB}" dt="2022-02-07T05:53:03.945" v="9723" actId="478"/>
          <ac:spMkLst>
            <pc:docMk/>
            <pc:sldMk cId="178818183" sldId="352"/>
            <ac:spMk id="11" creationId="{87034947-6739-CE46-ACDD-B8141D6C01F0}"/>
          </ac:spMkLst>
        </pc:spChg>
        <pc:picChg chg="add mod modCrop">
          <ac:chgData name="Ito Koichi" userId="7c59a57e28e385d5" providerId="LiveId" clId="{7BE1A0C3-347C-9343-AD50-5497B70087AB}" dt="2022-02-07T06:02:19.883" v="9759" actId="1076"/>
          <ac:picMkLst>
            <pc:docMk/>
            <pc:sldMk cId="178818183" sldId="352"/>
            <ac:picMk id="3" creationId="{D3538396-AD15-E945-BBFA-CD4E4E7B13F8}"/>
          </ac:picMkLst>
        </pc:picChg>
        <pc:picChg chg="add mod modCrop">
          <ac:chgData name="Ito Koichi" userId="7c59a57e28e385d5" providerId="LiveId" clId="{7BE1A0C3-347C-9343-AD50-5497B70087AB}" dt="2022-02-07T06:03:22.448" v="9762" actId="1076"/>
          <ac:picMkLst>
            <pc:docMk/>
            <pc:sldMk cId="178818183" sldId="352"/>
            <ac:picMk id="6" creationId="{1084ABA2-2181-3648-9F0B-25AC2293665C}"/>
          </ac:picMkLst>
        </pc:picChg>
        <pc:picChg chg="del">
          <ac:chgData name="Ito Koichi" userId="7c59a57e28e385d5" providerId="LiveId" clId="{7BE1A0C3-347C-9343-AD50-5497B70087AB}" dt="2022-02-07T05:53:03.945" v="9723" actId="478"/>
          <ac:picMkLst>
            <pc:docMk/>
            <pc:sldMk cId="178818183" sldId="352"/>
            <ac:picMk id="7" creationId="{471B0276-88C1-9F42-9328-99C18D3CE2DB}"/>
          </ac:picMkLst>
        </pc:picChg>
        <pc:picChg chg="del">
          <ac:chgData name="Ito Koichi" userId="7c59a57e28e385d5" providerId="LiveId" clId="{7BE1A0C3-347C-9343-AD50-5497B70087AB}" dt="2022-02-07T05:53:03.945" v="9723" actId="478"/>
          <ac:picMkLst>
            <pc:docMk/>
            <pc:sldMk cId="178818183" sldId="352"/>
            <ac:picMk id="9" creationId="{C3B9E6DC-88BE-664C-A4F2-4723C038C869}"/>
          </ac:picMkLst>
        </pc:picChg>
        <pc:picChg chg="del">
          <ac:chgData name="Ito Koichi" userId="7c59a57e28e385d5" providerId="LiveId" clId="{7BE1A0C3-347C-9343-AD50-5497B70087AB}" dt="2022-02-07T05:53:03.945" v="9723" actId="478"/>
          <ac:picMkLst>
            <pc:docMk/>
            <pc:sldMk cId="178818183" sldId="352"/>
            <ac:picMk id="10" creationId="{1878CC8E-5043-D746-A1E5-9EB476B569FC}"/>
          </ac:picMkLst>
        </pc:picChg>
        <pc:picChg chg="add mod modCrop">
          <ac:chgData name="Ito Koichi" userId="7c59a57e28e385d5" providerId="LiveId" clId="{7BE1A0C3-347C-9343-AD50-5497B70087AB}" dt="2022-02-07T06:02:19.883" v="9759" actId="1076"/>
          <ac:picMkLst>
            <pc:docMk/>
            <pc:sldMk cId="178818183" sldId="352"/>
            <ac:picMk id="12" creationId="{66C39BFB-3FAF-AA43-A4D6-2220E2B2DE78}"/>
          </ac:picMkLst>
        </pc:picChg>
        <pc:picChg chg="add del mod">
          <ac:chgData name="Ito Koichi" userId="7c59a57e28e385d5" providerId="LiveId" clId="{7BE1A0C3-347C-9343-AD50-5497B70087AB}" dt="2022-02-07T05:54:35.039" v="9745" actId="478"/>
          <ac:picMkLst>
            <pc:docMk/>
            <pc:sldMk cId="178818183" sldId="352"/>
            <ac:picMk id="14" creationId="{226AC34B-5910-0942-B837-67506C49D0B2}"/>
          </ac:picMkLst>
        </pc:picChg>
        <pc:picChg chg="add mod modCrop">
          <ac:chgData name="Ito Koichi" userId="7c59a57e28e385d5" providerId="LiveId" clId="{7BE1A0C3-347C-9343-AD50-5497B70087AB}" dt="2022-02-07T06:02:19.883" v="9759" actId="1076"/>
          <ac:picMkLst>
            <pc:docMk/>
            <pc:sldMk cId="178818183" sldId="352"/>
            <ac:picMk id="15" creationId="{725801DA-FA7E-F941-8B12-D27E2205D87E}"/>
          </ac:picMkLst>
        </pc:picChg>
        <pc:cxnChg chg="add mod">
          <ac:chgData name="Ito Koichi" userId="7c59a57e28e385d5" providerId="LiveId" clId="{7BE1A0C3-347C-9343-AD50-5497B70087AB}" dt="2022-02-07T06:03:55.699" v="9771" actId="1076"/>
          <ac:cxnSpMkLst>
            <pc:docMk/>
            <pc:sldMk cId="178818183" sldId="352"/>
            <ac:cxnSpMk id="17" creationId="{14AF3FB8-F890-6D42-816B-3D9B43589794}"/>
          </ac:cxnSpMkLst>
        </pc:cxnChg>
        <pc:cxnChg chg="add mod">
          <ac:chgData name="Ito Koichi" userId="7c59a57e28e385d5" providerId="LiveId" clId="{7BE1A0C3-347C-9343-AD50-5497B70087AB}" dt="2022-02-07T06:04:27.236" v="9777" actId="14100"/>
          <ac:cxnSpMkLst>
            <pc:docMk/>
            <pc:sldMk cId="178818183" sldId="352"/>
            <ac:cxnSpMk id="23" creationId="{7C71261E-C6E6-AE47-9804-DBF1D7A096A6}"/>
          </ac:cxnSpMkLst>
        </pc:cxnChg>
        <pc:cxnChg chg="add mod">
          <ac:chgData name="Ito Koichi" userId="7c59a57e28e385d5" providerId="LiveId" clId="{7BE1A0C3-347C-9343-AD50-5497B70087AB}" dt="2022-02-07T06:04:48.671" v="9780" actId="1076"/>
          <ac:cxnSpMkLst>
            <pc:docMk/>
            <pc:sldMk cId="178818183" sldId="352"/>
            <ac:cxnSpMk id="28" creationId="{2FECBD36-FE2C-4C43-8E77-41D47E851736}"/>
          </ac:cxnSpMkLst>
        </pc:cxnChg>
        <pc:cxnChg chg="add del mod">
          <ac:chgData name="Ito Koichi" userId="7c59a57e28e385d5" providerId="LiveId" clId="{7BE1A0C3-347C-9343-AD50-5497B70087AB}" dt="2022-02-07T06:05:51.973" v="9782"/>
          <ac:cxnSpMkLst>
            <pc:docMk/>
            <pc:sldMk cId="178818183" sldId="352"/>
            <ac:cxnSpMk id="29" creationId="{8DE26C4D-89F8-264A-A0D8-05B1E9A0D976}"/>
          </ac:cxnSpMkLst>
        </pc:cxnChg>
      </pc:sldChg>
      <pc:sldChg chg="addSp delSp modSp add mod">
        <pc:chgData name="Ito Koichi" userId="7c59a57e28e385d5" providerId="LiveId" clId="{7BE1A0C3-347C-9343-AD50-5497B70087AB}" dt="2022-02-07T06:17:36.639" v="9830" actId="20577"/>
        <pc:sldMkLst>
          <pc:docMk/>
          <pc:sldMk cId="1568504011" sldId="353"/>
        </pc:sldMkLst>
        <pc:spChg chg="add mod">
          <ac:chgData name="Ito Koichi" userId="7c59a57e28e385d5" providerId="LiveId" clId="{7BE1A0C3-347C-9343-AD50-5497B70087AB}" dt="2022-02-07T06:17:36.639" v="9830" actId="20577"/>
          <ac:spMkLst>
            <pc:docMk/>
            <pc:sldMk cId="1568504011" sldId="353"/>
            <ac:spMk id="11" creationId="{B61E0229-3199-9344-BF2B-60EDF6425AEA}"/>
          </ac:spMkLst>
        </pc:spChg>
        <pc:picChg chg="del">
          <ac:chgData name="Ito Koichi" userId="7c59a57e28e385d5" providerId="LiveId" clId="{7BE1A0C3-347C-9343-AD50-5497B70087AB}" dt="2022-02-07T06:15:45.052" v="9788" actId="478"/>
          <ac:picMkLst>
            <pc:docMk/>
            <pc:sldMk cId="1568504011" sldId="353"/>
            <ac:picMk id="3" creationId="{09479DC5-C1B0-754F-AD21-A6107DFD3D1F}"/>
          </ac:picMkLst>
        </pc:picChg>
        <pc:picChg chg="add mod modCrop">
          <ac:chgData name="Ito Koichi" userId="7c59a57e28e385d5" providerId="LiveId" clId="{7BE1A0C3-347C-9343-AD50-5497B70087AB}" dt="2022-02-07T06:16:11.169" v="9796" actId="1076"/>
          <ac:picMkLst>
            <pc:docMk/>
            <pc:sldMk cId="1568504011" sldId="353"/>
            <ac:picMk id="6" creationId="{BE97124A-467D-DF48-8038-5F6A0F3268F0}"/>
          </ac:picMkLst>
        </pc:picChg>
        <pc:picChg chg="del">
          <ac:chgData name="Ito Koichi" userId="7c59a57e28e385d5" providerId="LiveId" clId="{7BE1A0C3-347C-9343-AD50-5497B70087AB}" dt="2022-02-07T06:15:45.052" v="9788" actId="478"/>
          <ac:picMkLst>
            <pc:docMk/>
            <pc:sldMk cId="1568504011" sldId="353"/>
            <ac:picMk id="7" creationId="{8E156BAA-BEBF-4744-B863-2D4198067629}"/>
          </ac:picMkLst>
        </pc:picChg>
        <pc:picChg chg="add mod modCrop">
          <ac:chgData name="Ito Koichi" userId="7c59a57e28e385d5" providerId="LiveId" clId="{7BE1A0C3-347C-9343-AD50-5497B70087AB}" dt="2022-02-07T06:16:13.197" v="9797" actId="1076"/>
          <ac:picMkLst>
            <pc:docMk/>
            <pc:sldMk cId="1568504011" sldId="353"/>
            <ac:picMk id="9" creationId="{3FC2CD22-F0D8-6E49-A953-C4CEE3485D59}"/>
          </ac:picMkLst>
        </pc:picChg>
        <pc:cxnChg chg="mod">
          <ac:chgData name="Ito Koichi" userId="7c59a57e28e385d5" providerId="LiveId" clId="{7BE1A0C3-347C-9343-AD50-5497B70087AB}" dt="2022-02-07T06:17:07.861" v="9798" actId="14100"/>
          <ac:cxnSpMkLst>
            <pc:docMk/>
            <pc:sldMk cId="1568504011" sldId="353"/>
            <ac:cxnSpMk id="8" creationId="{EAF6CAED-965B-2946-90ED-0C4C78D1AF17}"/>
          </ac:cxnSpMkLst>
        </pc:cxnChg>
      </pc:sldChg>
      <pc:sldChg chg="addSp delSp modSp add mod">
        <pc:chgData name="Ito Koichi" userId="7c59a57e28e385d5" providerId="LiveId" clId="{7BE1A0C3-347C-9343-AD50-5497B70087AB}" dt="2022-02-07T06:20:06.433" v="9898" actId="1076"/>
        <pc:sldMkLst>
          <pc:docMk/>
          <pc:sldMk cId="1119758586" sldId="354"/>
        </pc:sldMkLst>
        <pc:spChg chg="add mod">
          <ac:chgData name="Ito Koichi" userId="7c59a57e28e385d5" providerId="LiveId" clId="{7BE1A0C3-347C-9343-AD50-5497B70087AB}" dt="2022-02-07T06:19:57.968" v="9881" actId="20577"/>
          <ac:spMkLst>
            <pc:docMk/>
            <pc:sldMk cId="1119758586" sldId="354"/>
            <ac:spMk id="10" creationId="{79B4B046-2717-BC49-8B46-065F25441815}"/>
          </ac:spMkLst>
        </pc:spChg>
        <pc:spChg chg="add mod">
          <ac:chgData name="Ito Koichi" userId="7c59a57e28e385d5" providerId="LiveId" clId="{7BE1A0C3-347C-9343-AD50-5497B70087AB}" dt="2022-02-07T06:20:06.433" v="9898" actId="1076"/>
          <ac:spMkLst>
            <pc:docMk/>
            <pc:sldMk cId="1119758586" sldId="354"/>
            <ac:spMk id="11" creationId="{68FA2B16-6406-3740-A34F-51D31A2E7A46}"/>
          </ac:spMkLst>
        </pc:spChg>
        <pc:picChg chg="del mod">
          <ac:chgData name="Ito Koichi" userId="7c59a57e28e385d5" providerId="LiveId" clId="{7BE1A0C3-347C-9343-AD50-5497B70087AB}" dt="2022-02-07T06:18:37.019" v="9840" actId="478"/>
          <ac:picMkLst>
            <pc:docMk/>
            <pc:sldMk cId="1119758586" sldId="354"/>
            <ac:picMk id="3" creationId="{09479DC5-C1B0-754F-AD21-A6107DFD3D1F}"/>
          </ac:picMkLst>
        </pc:picChg>
        <pc:picChg chg="add mod modCrop">
          <ac:chgData name="Ito Koichi" userId="7c59a57e28e385d5" providerId="LiveId" clId="{7BE1A0C3-347C-9343-AD50-5497B70087AB}" dt="2022-02-07T06:19:23.835" v="9853" actId="1076"/>
          <ac:picMkLst>
            <pc:docMk/>
            <pc:sldMk cId="1119758586" sldId="354"/>
            <ac:picMk id="6" creationId="{A0076FEA-26F3-C142-BBFD-F3E39D6B7A76}"/>
          </ac:picMkLst>
        </pc:picChg>
        <pc:picChg chg="del">
          <ac:chgData name="Ito Koichi" userId="7c59a57e28e385d5" providerId="LiveId" clId="{7BE1A0C3-347C-9343-AD50-5497B70087AB}" dt="2022-02-07T06:18:37.019" v="9840" actId="478"/>
          <ac:picMkLst>
            <pc:docMk/>
            <pc:sldMk cId="1119758586" sldId="354"/>
            <ac:picMk id="7" creationId="{8E156BAA-BEBF-4744-B863-2D4198067629}"/>
          </ac:picMkLst>
        </pc:picChg>
        <pc:picChg chg="add mod modCrop">
          <ac:chgData name="Ito Koichi" userId="7c59a57e28e385d5" providerId="LiveId" clId="{7BE1A0C3-347C-9343-AD50-5497B70087AB}" dt="2022-02-07T06:19:26.988" v="9854" actId="1076"/>
          <ac:picMkLst>
            <pc:docMk/>
            <pc:sldMk cId="1119758586" sldId="354"/>
            <ac:picMk id="9" creationId="{8F0709DE-BE71-804E-854A-2D6D326511AE}"/>
          </ac:picMkLst>
        </pc:picChg>
      </pc:sldChg>
      <pc:sldChg chg="addSp modSp new mod ord">
        <pc:chgData name="Ito Koichi" userId="7c59a57e28e385d5" providerId="LiveId" clId="{7BE1A0C3-347C-9343-AD50-5497B70087AB}" dt="2022-03-01T06:39:46.956" v="10042" actId="20577"/>
        <pc:sldMkLst>
          <pc:docMk/>
          <pc:sldMk cId="3906402260" sldId="355"/>
        </pc:sldMkLst>
        <pc:spChg chg="mod">
          <ac:chgData name="Ito Koichi" userId="7c59a57e28e385d5" providerId="LiveId" clId="{7BE1A0C3-347C-9343-AD50-5497B70087AB}" dt="2022-03-01T06:39:46.956" v="10042" actId="20577"/>
          <ac:spMkLst>
            <pc:docMk/>
            <pc:sldMk cId="3906402260" sldId="355"/>
            <ac:spMk id="2" creationId="{9F8FAFFF-A32B-7742-BCFF-5F4489091338}"/>
          </ac:spMkLst>
        </pc:spChg>
        <pc:spChg chg="add mod">
          <ac:chgData name="Ito Koichi" userId="7c59a57e28e385d5" providerId="LiveId" clId="{7BE1A0C3-347C-9343-AD50-5497B70087AB}" dt="2022-03-01T06:39:13.210" v="10038" actId="20577"/>
          <ac:spMkLst>
            <pc:docMk/>
            <pc:sldMk cId="3906402260" sldId="355"/>
            <ac:spMk id="6" creationId="{5AC4A862-8604-084F-87C9-D2FB4881AD21}"/>
          </ac:spMkLst>
        </pc:spChg>
        <pc:picChg chg="add mod">
          <ac:chgData name="Ito Koichi" userId="7c59a57e28e385d5" providerId="LiveId" clId="{7BE1A0C3-347C-9343-AD50-5497B70087AB}" dt="2022-03-01T06:39:29.651" v="10039" actId="14826"/>
          <ac:picMkLst>
            <pc:docMk/>
            <pc:sldMk cId="3906402260" sldId="355"/>
            <ac:picMk id="7" creationId="{35239896-8C8B-C940-9746-727D98557092}"/>
          </ac:picMkLst>
        </pc:picChg>
      </pc:sldChg>
      <pc:sldChg chg="addSp delSp modSp add mod">
        <pc:chgData name="Ito Koichi" userId="7c59a57e28e385d5" providerId="LiveId" clId="{7BE1A0C3-347C-9343-AD50-5497B70087AB}" dt="2022-03-01T07:13:14.708" v="10247" actId="20577"/>
        <pc:sldMkLst>
          <pc:docMk/>
          <pc:sldMk cId="3788053049" sldId="356"/>
        </pc:sldMkLst>
        <pc:spChg chg="mod">
          <ac:chgData name="Ito Koichi" userId="7c59a57e28e385d5" providerId="LiveId" clId="{7BE1A0C3-347C-9343-AD50-5497B70087AB}" dt="2022-03-01T06:39:53.297" v="10045" actId="20577"/>
          <ac:spMkLst>
            <pc:docMk/>
            <pc:sldMk cId="3788053049" sldId="356"/>
            <ac:spMk id="2" creationId="{18C0CF12-81D5-0D4F-A24F-3BAC5546F0A4}"/>
          </ac:spMkLst>
        </pc:spChg>
        <pc:spChg chg="mod">
          <ac:chgData name="Ito Koichi" userId="7c59a57e28e385d5" providerId="LiveId" clId="{7BE1A0C3-347C-9343-AD50-5497B70087AB}" dt="2022-03-01T06:50:01.855" v="10052"/>
          <ac:spMkLst>
            <pc:docMk/>
            <pc:sldMk cId="3788053049" sldId="356"/>
            <ac:spMk id="7" creationId="{726EACEF-83EB-C249-AEE0-7E735D27208C}"/>
          </ac:spMkLst>
        </pc:spChg>
        <pc:spChg chg="mod">
          <ac:chgData name="Ito Koichi" userId="7c59a57e28e385d5" providerId="LiveId" clId="{7BE1A0C3-347C-9343-AD50-5497B70087AB}" dt="2022-03-01T07:13:14.708" v="10247" actId="20577"/>
          <ac:spMkLst>
            <pc:docMk/>
            <pc:sldMk cId="3788053049" sldId="356"/>
            <ac:spMk id="9" creationId="{11AE8FD6-28B8-E047-BDD4-CA697AEDA5F6}"/>
          </ac:spMkLst>
        </pc:spChg>
        <pc:picChg chg="add mod">
          <ac:chgData name="Ito Koichi" userId="7c59a57e28e385d5" providerId="LiveId" clId="{7BE1A0C3-347C-9343-AD50-5497B70087AB}" dt="2022-03-01T07:11:02.361" v="10147" actId="1076"/>
          <ac:picMkLst>
            <pc:docMk/>
            <pc:sldMk cId="3788053049" sldId="356"/>
            <ac:picMk id="6" creationId="{F07AA498-D4F8-0B4A-A126-7FE4B0ADBEBD}"/>
          </ac:picMkLst>
        </pc:picChg>
        <pc:picChg chg="del">
          <ac:chgData name="Ito Koichi" userId="7c59a57e28e385d5" providerId="LiveId" clId="{7BE1A0C3-347C-9343-AD50-5497B70087AB}" dt="2022-03-01T06:51:38.021" v="10053" actId="478"/>
          <ac:picMkLst>
            <pc:docMk/>
            <pc:sldMk cId="3788053049" sldId="356"/>
            <ac:picMk id="10" creationId="{34B30F73-EEEF-3D47-BC8D-477E46EEB5C7}"/>
          </ac:picMkLst>
        </pc:picChg>
        <pc:picChg chg="add mod">
          <ac:chgData name="Ito Koichi" userId="7c59a57e28e385d5" providerId="LiveId" clId="{7BE1A0C3-347C-9343-AD50-5497B70087AB}" dt="2022-03-01T07:10:55.527" v="10146" actId="1076"/>
          <ac:picMkLst>
            <pc:docMk/>
            <pc:sldMk cId="3788053049" sldId="356"/>
            <ac:picMk id="12" creationId="{79006372-0ED1-9D40-8D34-DE6795EF0BAC}"/>
          </ac:picMkLst>
        </pc:picChg>
        <pc:picChg chg="del">
          <ac:chgData name="Ito Koichi" userId="7c59a57e28e385d5" providerId="LiveId" clId="{7BE1A0C3-347C-9343-AD50-5497B70087AB}" dt="2022-03-01T06:51:38.021" v="10053" actId="478"/>
          <ac:picMkLst>
            <pc:docMk/>
            <pc:sldMk cId="3788053049" sldId="356"/>
            <ac:picMk id="13" creationId="{AA38F203-0968-C343-95F0-A1B2E60EBB10}"/>
          </ac:picMkLst>
        </pc:picChg>
        <pc:picChg chg="del">
          <ac:chgData name="Ito Koichi" userId="7c59a57e28e385d5" providerId="LiveId" clId="{7BE1A0C3-347C-9343-AD50-5497B70087AB}" dt="2022-03-01T07:09:31.805" v="10126" actId="478"/>
          <ac:picMkLst>
            <pc:docMk/>
            <pc:sldMk cId="3788053049" sldId="356"/>
            <ac:picMk id="15" creationId="{592017E5-5CD5-FE49-9EEB-3EF6FE972D08}"/>
          </ac:picMkLst>
        </pc:picChg>
        <pc:picChg chg="add mod">
          <ac:chgData name="Ito Koichi" userId="7c59a57e28e385d5" providerId="LiveId" clId="{7BE1A0C3-347C-9343-AD50-5497B70087AB}" dt="2022-03-01T07:10:46.777" v="10144" actId="1076"/>
          <ac:picMkLst>
            <pc:docMk/>
            <pc:sldMk cId="3788053049" sldId="356"/>
            <ac:picMk id="16" creationId="{BA1484B0-177D-354E-9E22-785AE74C550D}"/>
          </ac:picMkLst>
        </pc:picChg>
        <pc:picChg chg="add mod">
          <ac:chgData name="Ito Koichi" userId="7c59a57e28e385d5" providerId="LiveId" clId="{7BE1A0C3-347C-9343-AD50-5497B70087AB}" dt="2022-03-01T07:10:51.961" v="10145" actId="1076"/>
          <ac:picMkLst>
            <pc:docMk/>
            <pc:sldMk cId="3788053049" sldId="356"/>
            <ac:picMk id="18" creationId="{21612D00-A418-D043-ADDF-AF0CD4BACBC7}"/>
          </ac:picMkLst>
        </pc:picChg>
      </pc:sldChg>
      <pc:sldChg chg="addSp delSp modSp add mod">
        <pc:chgData name="Ito Koichi" userId="7c59a57e28e385d5" providerId="LiveId" clId="{7BE1A0C3-347C-9343-AD50-5497B70087AB}" dt="2022-03-01T07:18:49.593" v="10336" actId="1076"/>
        <pc:sldMkLst>
          <pc:docMk/>
          <pc:sldMk cId="3230501836" sldId="357"/>
        </pc:sldMkLst>
        <pc:spChg chg="mod">
          <ac:chgData name="Ito Koichi" userId="7c59a57e28e385d5" providerId="LiveId" clId="{7BE1A0C3-347C-9343-AD50-5497B70087AB}" dt="2022-03-01T07:17:36.878" v="10322" actId="20577"/>
          <ac:spMkLst>
            <pc:docMk/>
            <pc:sldMk cId="3230501836" sldId="357"/>
            <ac:spMk id="7" creationId="{726EACEF-83EB-C249-AEE0-7E735D27208C}"/>
          </ac:spMkLst>
        </pc:spChg>
        <pc:spChg chg="del">
          <ac:chgData name="Ito Koichi" userId="7c59a57e28e385d5" providerId="LiveId" clId="{7BE1A0C3-347C-9343-AD50-5497B70087AB}" dt="2022-03-01T07:13:47.250" v="10259" actId="478"/>
          <ac:spMkLst>
            <pc:docMk/>
            <pc:sldMk cId="3230501836" sldId="357"/>
            <ac:spMk id="9" creationId="{11AE8FD6-28B8-E047-BDD4-CA697AEDA5F6}"/>
          </ac:spMkLst>
        </pc:spChg>
        <pc:spChg chg="add mod">
          <ac:chgData name="Ito Koichi" userId="7c59a57e28e385d5" providerId="LiveId" clId="{7BE1A0C3-347C-9343-AD50-5497B70087AB}" dt="2022-03-01T07:17:54.530" v="10323"/>
          <ac:spMkLst>
            <pc:docMk/>
            <pc:sldMk cId="3230501836" sldId="357"/>
            <ac:spMk id="17" creationId="{BEFC5A31-4B1C-6946-A80F-80A473062872}"/>
          </ac:spMkLst>
        </pc:spChg>
        <pc:picChg chg="del">
          <ac:chgData name="Ito Koichi" userId="7c59a57e28e385d5" providerId="LiveId" clId="{7BE1A0C3-347C-9343-AD50-5497B70087AB}" dt="2022-03-01T07:13:52.391" v="10262" actId="478"/>
          <ac:picMkLst>
            <pc:docMk/>
            <pc:sldMk cId="3230501836" sldId="357"/>
            <ac:picMk id="6" creationId="{F07AA498-D4F8-0B4A-A126-7FE4B0ADBEBD}"/>
          </ac:picMkLst>
        </pc:picChg>
        <pc:picChg chg="add mod">
          <ac:chgData name="Ito Koichi" userId="7c59a57e28e385d5" providerId="LiveId" clId="{7BE1A0C3-347C-9343-AD50-5497B70087AB}" dt="2022-03-01T07:17:21.528" v="10277" actId="1076"/>
          <ac:picMkLst>
            <pc:docMk/>
            <pc:sldMk cId="3230501836" sldId="357"/>
            <ac:picMk id="10" creationId="{11B14229-684B-E640-8FCA-2EF6BF364058}"/>
          </ac:picMkLst>
        </pc:picChg>
        <pc:picChg chg="del">
          <ac:chgData name="Ito Koichi" userId="7c59a57e28e385d5" providerId="LiveId" clId="{7BE1A0C3-347C-9343-AD50-5497B70087AB}" dt="2022-03-01T07:13:52.391" v="10262" actId="478"/>
          <ac:picMkLst>
            <pc:docMk/>
            <pc:sldMk cId="3230501836" sldId="357"/>
            <ac:picMk id="12" creationId="{79006372-0ED1-9D40-8D34-DE6795EF0BAC}"/>
          </ac:picMkLst>
        </pc:picChg>
        <pc:picChg chg="add mod">
          <ac:chgData name="Ito Koichi" userId="7c59a57e28e385d5" providerId="LiveId" clId="{7BE1A0C3-347C-9343-AD50-5497B70087AB}" dt="2022-03-01T07:17:18.276" v="10276" actId="1076"/>
          <ac:picMkLst>
            <pc:docMk/>
            <pc:sldMk cId="3230501836" sldId="357"/>
            <ac:picMk id="13" creationId="{3D6119F0-25C0-294F-B3CF-F45D9E956183}"/>
          </ac:picMkLst>
        </pc:picChg>
        <pc:picChg chg="add mod">
          <ac:chgData name="Ito Koichi" userId="7c59a57e28e385d5" providerId="LiveId" clId="{7BE1A0C3-347C-9343-AD50-5497B70087AB}" dt="2022-03-01T07:18:49.593" v="10336" actId="1076"/>
          <ac:picMkLst>
            <pc:docMk/>
            <pc:sldMk cId="3230501836" sldId="357"/>
            <ac:picMk id="15" creationId="{2359F221-2841-9644-ACDA-440C4AABBF3E}"/>
          </ac:picMkLst>
        </pc:picChg>
        <pc:picChg chg="del">
          <ac:chgData name="Ito Koichi" userId="7c59a57e28e385d5" providerId="LiveId" clId="{7BE1A0C3-347C-9343-AD50-5497B70087AB}" dt="2022-03-01T07:13:48.808" v="10260" actId="478"/>
          <ac:picMkLst>
            <pc:docMk/>
            <pc:sldMk cId="3230501836" sldId="357"/>
            <ac:picMk id="16" creationId="{BA1484B0-177D-354E-9E22-785AE74C550D}"/>
          </ac:picMkLst>
        </pc:picChg>
        <pc:picChg chg="del">
          <ac:chgData name="Ito Koichi" userId="7c59a57e28e385d5" providerId="LiveId" clId="{7BE1A0C3-347C-9343-AD50-5497B70087AB}" dt="2022-03-01T07:13:50.389" v="10261" actId="478"/>
          <ac:picMkLst>
            <pc:docMk/>
            <pc:sldMk cId="3230501836" sldId="357"/>
            <ac:picMk id="18" creationId="{21612D00-A418-D043-ADDF-AF0CD4BACBC7}"/>
          </ac:picMkLst>
        </pc:picChg>
        <pc:picChg chg="add del mod">
          <ac:chgData name="Ito Koichi" userId="7c59a57e28e385d5" providerId="LiveId" clId="{7BE1A0C3-347C-9343-AD50-5497B70087AB}" dt="2022-03-01T07:18:01.679" v="10324" actId="478"/>
          <ac:picMkLst>
            <pc:docMk/>
            <pc:sldMk cId="3230501836" sldId="357"/>
            <ac:picMk id="19" creationId="{44DF4052-6F14-534D-855C-902CF4B4A4A3}"/>
          </ac:picMkLst>
        </pc:picChg>
      </pc:sldChg>
      <pc:sldChg chg="modSp add mod">
        <pc:chgData name="Ito Koichi" userId="7c59a57e28e385d5" providerId="LiveId" clId="{7BE1A0C3-347C-9343-AD50-5497B70087AB}" dt="2022-03-15T03:00:01.039" v="10346" actId="20577"/>
        <pc:sldMkLst>
          <pc:docMk/>
          <pc:sldMk cId="1632203755" sldId="368"/>
        </pc:sldMkLst>
        <pc:spChg chg="mod">
          <ac:chgData name="Ito Koichi" userId="7c59a57e28e385d5" providerId="LiveId" clId="{7BE1A0C3-347C-9343-AD50-5497B70087AB}" dt="2022-03-15T03:00:01.039" v="10346" actId="20577"/>
          <ac:spMkLst>
            <pc:docMk/>
            <pc:sldMk cId="1632203755" sldId="368"/>
            <ac:spMk id="2" creationId="{E01226A3-FD12-4BA7-ABF5-9D408688073E}"/>
          </ac:spMkLst>
        </pc:spChg>
      </pc:sldChg>
    </pc:docChg>
  </pc:docChgLst>
  <pc:docChgLst>
    <pc:chgData name="Revocatus Washington Paul" userId="S::catuspaul_gmail.com#ext#@worldbankgroup.onmicrosoft.com::b13f5400-0b53-417f-9ea3-8ee32bb124d8" providerId="AD" clId="Web-{72E582F2-82CE-40D5-2CD5-7C443CC4E022}"/>
    <pc:docChg chg="addSld delSld modSld sldOrd">
      <pc:chgData name="Revocatus Washington Paul" userId="S::catuspaul_gmail.com#ext#@worldbankgroup.onmicrosoft.com::b13f5400-0b53-417f-9ea3-8ee32bb124d8" providerId="AD" clId="Web-{72E582F2-82CE-40D5-2CD5-7C443CC4E022}" dt="2022-03-03T17:09:09.393" v="224"/>
      <pc:docMkLst>
        <pc:docMk/>
      </pc:docMkLst>
      <pc:sldChg chg="modSp">
        <pc:chgData name="Revocatus Washington Paul" userId="S::catuspaul_gmail.com#ext#@worldbankgroup.onmicrosoft.com::b13f5400-0b53-417f-9ea3-8ee32bb124d8" providerId="AD" clId="Web-{72E582F2-82CE-40D5-2CD5-7C443CC4E022}" dt="2022-03-03T16:50:02.927" v="177" actId="20577"/>
        <pc:sldMkLst>
          <pc:docMk/>
          <pc:sldMk cId="3352592262" sldId="257"/>
        </pc:sldMkLst>
        <pc:spChg chg="mod">
          <ac:chgData name="Revocatus Washington Paul" userId="S::catuspaul_gmail.com#ext#@worldbankgroup.onmicrosoft.com::b13f5400-0b53-417f-9ea3-8ee32bb124d8" providerId="AD" clId="Web-{72E582F2-82CE-40D5-2CD5-7C443CC4E022}" dt="2022-03-03T16:50:02.927" v="177" actId="20577"/>
          <ac:spMkLst>
            <pc:docMk/>
            <pc:sldMk cId="3352592262" sldId="257"/>
            <ac:spMk id="3" creationId="{B894210C-9002-4DA4-9DD8-4CF05F405920}"/>
          </ac:spMkLst>
        </pc:spChg>
      </pc:sldChg>
      <pc:sldChg chg="modSp ord">
        <pc:chgData name="Revocatus Washington Paul" userId="S::catuspaul_gmail.com#ext#@worldbankgroup.onmicrosoft.com::b13f5400-0b53-417f-9ea3-8ee32bb124d8" providerId="AD" clId="Web-{72E582F2-82CE-40D5-2CD5-7C443CC4E022}" dt="2022-03-03T16:46:54.805" v="141" actId="20577"/>
        <pc:sldMkLst>
          <pc:docMk/>
          <pc:sldMk cId="363020870" sldId="258"/>
        </pc:sldMkLst>
        <pc:spChg chg="mod">
          <ac:chgData name="Revocatus Washington Paul" userId="S::catuspaul_gmail.com#ext#@worldbankgroup.onmicrosoft.com::b13f5400-0b53-417f-9ea3-8ee32bb124d8" providerId="AD" clId="Web-{72E582F2-82CE-40D5-2CD5-7C443CC4E022}" dt="2022-03-03T16:46:54.805" v="141" actId="20577"/>
          <ac:spMkLst>
            <pc:docMk/>
            <pc:sldMk cId="363020870" sldId="258"/>
            <ac:spMk id="2" creationId="{E01226A3-FD12-4BA7-ABF5-9D408688073E}"/>
          </ac:spMkLst>
        </pc:spChg>
      </pc:sldChg>
      <pc:sldChg chg="addSp delSp ord">
        <pc:chgData name="Revocatus Washington Paul" userId="S::catuspaul_gmail.com#ext#@worldbankgroup.onmicrosoft.com::b13f5400-0b53-417f-9ea3-8ee32bb124d8" providerId="AD" clId="Web-{72E582F2-82CE-40D5-2CD5-7C443CC4E022}" dt="2022-03-03T16:46:20.303" v="139"/>
        <pc:sldMkLst>
          <pc:docMk/>
          <pc:sldMk cId="3961101582" sldId="260"/>
        </pc:sldMkLst>
        <pc:spChg chg="add del">
          <ac:chgData name="Revocatus Washington Paul" userId="S::catuspaul_gmail.com#ext#@worldbankgroup.onmicrosoft.com::b13f5400-0b53-417f-9ea3-8ee32bb124d8" providerId="AD" clId="Web-{72E582F2-82CE-40D5-2CD5-7C443CC4E022}" dt="2022-03-03T16:45:32.112" v="109"/>
          <ac:spMkLst>
            <pc:docMk/>
            <pc:sldMk cId="3961101582" sldId="260"/>
            <ac:spMk id="3" creationId="{E3DF1DD6-114A-4029-913A-5D71A524F07D}"/>
          </ac:spMkLst>
        </pc:spChg>
      </pc:sldChg>
      <pc:sldChg chg="delSp modSp">
        <pc:chgData name="Revocatus Washington Paul" userId="S::catuspaul_gmail.com#ext#@worldbankgroup.onmicrosoft.com::b13f5400-0b53-417f-9ea3-8ee32bb124d8" providerId="AD" clId="Web-{72E582F2-82CE-40D5-2CD5-7C443CC4E022}" dt="2022-03-03T16:48:54.735" v="154"/>
        <pc:sldMkLst>
          <pc:docMk/>
          <pc:sldMk cId="553589282" sldId="261"/>
        </pc:sldMkLst>
        <pc:spChg chg="mod">
          <ac:chgData name="Revocatus Washington Paul" userId="S::catuspaul_gmail.com#ext#@worldbankgroup.onmicrosoft.com::b13f5400-0b53-417f-9ea3-8ee32bb124d8" providerId="AD" clId="Web-{72E582F2-82CE-40D5-2CD5-7C443CC4E022}" dt="2022-03-03T16:47:37.355" v="150" actId="20577"/>
          <ac:spMkLst>
            <pc:docMk/>
            <pc:sldMk cId="553589282" sldId="261"/>
            <ac:spMk id="2" creationId="{E01226A3-FD12-4BA7-ABF5-9D408688073E}"/>
          </ac:spMkLst>
        </pc:spChg>
        <pc:spChg chg="del">
          <ac:chgData name="Revocatus Washington Paul" userId="S::catuspaul_gmail.com#ext#@worldbankgroup.onmicrosoft.com::b13f5400-0b53-417f-9ea3-8ee32bb124d8" providerId="AD" clId="Web-{72E582F2-82CE-40D5-2CD5-7C443CC4E022}" dt="2022-03-03T16:46:57.165" v="142"/>
          <ac:spMkLst>
            <pc:docMk/>
            <pc:sldMk cId="553589282" sldId="261"/>
            <ac:spMk id="3" creationId="{3EE0DA0E-4180-4226-A6C5-B8C9859EB37D}"/>
          </ac:spMkLst>
        </pc:spChg>
        <pc:spChg chg="del">
          <ac:chgData name="Revocatus Washington Paul" userId="S::catuspaul_gmail.com#ext#@worldbankgroup.onmicrosoft.com::b13f5400-0b53-417f-9ea3-8ee32bb124d8" providerId="AD" clId="Web-{72E582F2-82CE-40D5-2CD5-7C443CC4E022}" dt="2022-03-03T16:48:54.735" v="154"/>
          <ac:spMkLst>
            <pc:docMk/>
            <pc:sldMk cId="553589282" sldId="261"/>
            <ac:spMk id="4" creationId="{1EE6E14C-DFEC-4A41-972C-3C099E1C11EF}"/>
          </ac:spMkLst>
        </pc:spChg>
        <pc:spChg chg="del">
          <ac:chgData name="Revocatus Washington Paul" userId="S::catuspaul_gmail.com#ext#@worldbankgroup.onmicrosoft.com::b13f5400-0b53-417f-9ea3-8ee32bb124d8" providerId="AD" clId="Web-{72E582F2-82CE-40D5-2CD5-7C443CC4E022}" dt="2022-03-03T16:46:57.180" v="143"/>
          <ac:spMkLst>
            <pc:docMk/>
            <pc:sldMk cId="553589282" sldId="261"/>
            <ac:spMk id="5" creationId="{690978AD-00A2-4582-B389-CFB3FB3E3D1D}"/>
          </ac:spMkLst>
        </pc:spChg>
      </pc:sldChg>
      <pc:sldChg chg="addSp delSp modSp new del">
        <pc:chgData name="Revocatus Washington Paul" userId="S::catuspaul_gmail.com#ext#@worldbankgroup.onmicrosoft.com::b13f5400-0b53-417f-9ea3-8ee32bb124d8" providerId="AD" clId="Web-{72E582F2-82CE-40D5-2CD5-7C443CC4E022}" dt="2022-03-03T16:45:39.316" v="137"/>
        <pc:sldMkLst>
          <pc:docMk/>
          <pc:sldMk cId="2649633961" sldId="358"/>
        </pc:sldMkLst>
        <pc:spChg chg="add del">
          <ac:chgData name="Revocatus Washington Paul" userId="S::catuspaul_gmail.com#ext#@worldbankgroup.onmicrosoft.com::b13f5400-0b53-417f-9ea3-8ee32bb124d8" providerId="AD" clId="Web-{72E582F2-82CE-40D5-2CD5-7C443CC4E022}" dt="2022-03-03T16:45:25.737" v="76"/>
          <ac:spMkLst>
            <pc:docMk/>
            <pc:sldMk cId="2649633961" sldId="358"/>
            <ac:spMk id="2" creationId="{8C7E8FFB-7631-4179-9CD9-EE6A38AAB7CF}"/>
          </ac:spMkLst>
        </pc:spChg>
        <pc:spChg chg="add del">
          <ac:chgData name="Revocatus Washington Paul" userId="S::catuspaul_gmail.com#ext#@worldbankgroup.onmicrosoft.com::b13f5400-0b53-417f-9ea3-8ee32bb124d8" providerId="AD" clId="Web-{72E582F2-82CE-40D5-2CD5-7C443CC4E022}" dt="2022-03-03T16:45:23.221" v="75"/>
          <ac:spMkLst>
            <pc:docMk/>
            <pc:sldMk cId="2649633961" sldId="358"/>
            <ac:spMk id="3" creationId="{C3D6A7B0-4B7A-496C-BA77-14EC3D9DC263}"/>
          </ac:spMkLst>
        </pc:spChg>
        <pc:spChg chg="add del">
          <ac:chgData name="Revocatus Washington Paul" userId="S::catuspaul_gmail.com#ext#@worldbankgroup.onmicrosoft.com::b13f5400-0b53-417f-9ea3-8ee32bb124d8" providerId="AD" clId="Web-{72E582F2-82CE-40D5-2CD5-7C443CC4E022}" dt="2022-03-03T16:44:34.999" v="73"/>
          <ac:spMkLst>
            <pc:docMk/>
            <pc:sldMk cId="2649633961" sldId="358"/>
            <ac:spMk id="4" creationId="{413F28F7-9019-47BA-9E49-3B517B619CD3}"/>
          </ac:spMkLst>
        </pc:spChg>
        <pc:spChg chg="add del">
          <ac:chgData name="Revocatus Washington Paul" userId="S::catuspaul_gmail.com#ext#@worldbankgroup.onmicrosoft.com::b13f5400-0b53-417f-9ea3-8ee32bb124d8" providerId="AD" clId="Web-{72E582F2-82CE-40D5-2CD5-7C443CC4E022}" dt="2022-03-03T16:44:46.265" v="74"/>
          <ac:spMkLst>
            <pc:docMk/>
            <pc:sldMk cId="2649633961" sldId="358"/>
            <ac:spMk id="5" creationId="{6420188E-93C4-46DE-8D94-CCBE617DA56B}"/>
          </ac:spMkLst>
        </pc:spChg>
        <pc:spChg chg="add del">
          <ac:chgData name="Revocatus Washington Paul" userId="S::catuspaul_gmail.com#ext#@worldbankgroup.onmicrosoft.com::b13f5400-0b53-417f-9ea3-8ee32bb124d8" providerId="AD" clId="Web-{72E582F2-82CE-40D5-2CD5-7C443CC4E022}" dt="2022-03-03T16:44:32.921" v="72"/>
          <ac:spMkLst>
            <pc:docMk/>
            <pc:sldMk cId="2649633961" sldId="358"/>
            <ac:spMk id="6" creationId="{5B82A075-9A3D-4340-8CB5-D43CC4D15B2B}"/>
          </ac:spMkLst>
        </pc:spChg>
        <pc:spChg chg="add del">
          <ac:chgData name="Revocatus Washington Paul" userId="S::catuspaul_gmail.com#ext#@worldbankgroup.onmicrosoft.com::b13f5400-0b53-417f-9ea3-8ee32bb124d8" providerId="AD" clId="Web-{72E582F2-82CE-40D5-2CD5-7C443CC4E022}" dt="2022-03-03T16:44:30.592" v="71"/>
          <ac:spMkLst>
            <pc:docMk/>
            <pc:sldMk cId="2649633961" sldId="358"/>
            <ac:spMk id="7" creationId="{46780F7C-1A17-43DE-A4E4-F42AFE07BBEA}"/>
          </ac:spMkLst>
        </pc:spChg>
        <pc:spChg chg="add del mod">
          <ac:chgData name="Revocatus Washington Paul" userId="S::catuspaul_gmail.com#ext#@worldbankgroup.onmicrosoft.com::b13f5400-0b53-417f-9ea3-8ee32bb124d8" providerId="AD" clId="Web-{72E582F2-82CE-40D5-2CD5-7C443CC4E022}" dt="2022-03-03T16:44:26.983" v="70"/>
          <ac:spMkLst>
            <pc:docMk/>
            <pc:sldMk cId="2649633961" sldId="358"/>
            <ac:spMk id="8" creationId="{26667F35-B906-4D4E-AC17-BEF99DDC7BCB}"/>
          </ac:spMkLst>
        </pc:spChg>
      </pc:sldChg>
      <pc:sldChg chg="add replId">
        <pc:chgData name="Revocatus Washington Paul" userId="S::catuspaul_gmail.com#ext#@worldbankgroup.onmicrosoft.com::b13f5400-0b53-417f-9ea3-8ee32bb124d8" providerId="AD" clId="Web-{72E582F2-82CE-40D5-2CD5-7C443CC4E022}" dt="2022-03-03T16:47:13.525" v="144"/>
        <pc:sldMkLst>
          <pc:docMk/>
          <pc:sldMk cId="3918405635" sldId="358"/>
        </pc:sldMkLst>
      </pc:sldChg>
      <pc:sldChg chg="addSp delSp modSp new ord">
        <pc:chgData name="Revocatus Washington Paul" userId="S::catuspaul_gmail.com#ext#@worldbankgroup.onmicrosoft.com::b13f5400-0b53-417f-9ea3-8ee32bb124d8" providerId="AD" clId="Web-{72E582F2-82CE-40D5-2CD5-7C443CC4E022}" dt="2022-03-03T17:04:15.014" v="222"/>
        <pc:sldMkLst>
          <pc:docMk/>
          <pc:sldMk cId="2379308332" sldId="359"/>
        </pc:sldMkLst>
        <pc:spChg chg="del">
          <ac:chgData name="Revocatus Washington Paul" userId="S::catuspaul_gmail.com#ext#@worldbankgroup.onmicrosoft.com::b13f5400-0b53-417f-9ea3-8ee32bb124d8" providerId="AD" clId="Web-{72E582F2-82CE-40D5-2CD5-7C443CC4E022}" dt="2022-03-03T16:48:45.609" v="152"/>
          <ac:spMkLst>
            <pc:docMk/>
            <pc:sldMk cId="2379308332" sldId="359"/>
            <ac:spMk id="2" creationId="{54D4E737-8C8C-4B58-A2BD-8A1CDD76A63E}"/>
          </ac:spMkLst>
        </pc:spChg>
        <pc:spChg chg="del">
          <ac:chgData name="Revocatus Washington Paul" userId="S::catuspaul_gmail.com#ext#@worldbankgroup.onmicrosoft.com::b13f5400-0b53-417f-9ea3-8ee32bb124d8" providerId="AD" clId="Web-{72E582F2-82CE-40D5-2CD5-7C443CC4E022}" dt="2022-03-03T16:48:45.625" v="153"/>
          <ac:spMkLst>
            <pc:docMk/>
            <pc:sldMk cId="2379308332" sldId="359"/>
            <ac:spMk id="3" creationId="{A85CC67D-D0F8-455D-98C5-F48081758349}"/>
          </ac:spMkLst>
        </pc:spChg>
        <pc:picChg chg="add mod">
          <ac:chgData name="Revocatus Washington Paul" userId="S::catuspaul_gmail.com#ext#@worldbankgroup.onmicrosoft.com::b13f5400-0b53-417f-9ea3-8ee32bb124d8" providerId="AD" clId="Web-{72E582F2-82CE-40D5-2CD5-7C443CC4E022}" dt="2022-03-03T16:59:04.744" v="205" actId="1076"/>
          <ac:picMkLst>
            <pc:docMk/>
            <pc:sldMk cId="2379308332" sldId="359"/>
            <ac:picMk id="6" creationId="{503F0F58-E7D7-470D-9814-240172827E43}"/>
          </ac:picMkLst>
        </pc:picChg>
        <pc:picChg chg="add del mod">
          <ac:chgData name="Revocatus Washington Paul" userId="S::catuspaul_gmail.com#ext#@worldbankgroup.onmicrosoft.com::b13f5400-0b53-417f-9ea3-8ee32bb124d8" providerId="AD" clId="Web-{72E582F2-82CE-40D5-2CD5-7C443CC4E022}" dt="2022-03-03T16:58:46.914" v="199"/>
          <ac:picMkLst>
            <pc:docMk/>
            <pc:sldMk cId="2379308332" sldId="359"/>
            <ac:picMk id="7" creationId="{66989DAE-D9BF-4C9F-BD55-88F2FE005AF9}"/>
          </ac:picMkLst>
        </pc:picChg>
      </pc:sldChg>
      <pc:sldChg chg="addSp delSp modSp new">
        <pc:chgData name="Revocatus Washington Paul" userId="S::catuspaul_gmail.com#ext#@worldbankgroup.onmicrosoft.com::b13f5400-0b53-417f-9ea3-8ee32bb124d8" providerId="AD" clId="Web-{72E582F2-82CE-40D5-2CD5-7C443CC4E022}" dt="2022-03-03T17:05:54.349" v="223" actId="1076"/>
        <pc:sldMkLst>
          <pc:docMk/>
          <pc:sldMk cId="3176795038" sldId="360"/>
        </pc:sldMkLst>
        <pc:spChg chg="del">
          <ac:chgData name="Revocatus Washington Paul" userId="S::catuspaul_gmail.com#ext#@worldbankgroup.onmicrosoft.com::b13f5400-0b53-417f-9ea3-8ee32bb124d8" providerId="AD" clId="Web-{72E582F2-82CE-40D5-2CD5-7C443CC4E022}" dt="2022-03-03T16:59:57.216" v="207"/>
          <ac:spMkLst>
            <pc:docMk/>
            <pc:sldMk cId="3176795038" sldId="360"/>
            <ac:spMk id="2" creationId="{E4DABABB-9571-44FB-99B1-EBE4FAAAF520}"/>
          </ac:spMkLst>
        </pc:spChg>
        <pc:spChg chg="del">
          <ac:chgData name="Revocatus Washington Paul" userId="S::catuspaul_gmail.com#ext#@worldbankgroup.onmicrosoft.com::b13f5400-0b53-417f-9ea3-8ee32bb124d8" providerId="AD" clId="Web-{72E582F2-82CE-40D5-2CD5-7C443CC4E022}" dt="2022-03-03T16:59:57.231" v="208"/>
          <ac:spMkLst>
            <pc:docMk/>
            <pc:sldMk cId="3176795038" sldId="360"/>
            <ac:spMk id="3" creationId="{8A8D950E-7185-4507-B07B-3A68006BF86A}"/>
          </ac:spMkLst>
        </pc:spChg>
        <pc:picChg chg="add mod">
          <ac:chgData name="Revocatus Washington Paul" userId="S::catuspaul_gmail.com#ext#@worldbankgroup.onmicrosoft.com::b13f5400-0b53-417f-9ea3-8ee32bb124d8" providerId="AD" clId="Web-{72E582F2-82CE-40D5-2CD5-7C443CC4E022}" dt="2022-03-03T17:05:54.349" v="223" actId="1076"/>
          <ac:picMkLst>
            <pc:docMk/>
            <pc:sldMk cId="3176795038" sldId="360"/>
            <ac:picMk id="6" creationId="{7C2CB570-81A5-4144-96AC-E2F778DC6CB2}"/>
          </ac:picMkLst>
        </pc:picChg>
      </pc:sldChg>
      <pc:sldChg chg="new">
        <pc:chgData name="Revocatus Washington Paul" userId="S::catuspaul_gmail.com#ext#@worldbankgroup.onmicrosoft.com::b13f5400-0b53-417f-9ea3-8ee32bb124d8" providerId="AD" clId="Web-{72E582F2-82CE-40D5-2CD5-7C443CC4E022}" dt="2022-03-03T17:09:09.393" v="224"/>
        <pc:sldMkLst>
          <pc:docMk/>
          <pc:sldMk cId="3425921230" sldId="361"/>
        </pc:sldMkLst>
      </pc:sldChg>
    </pc:docChg>
  </pc:docChgLst>
  <pc:docChgLst>
    <pc:chgData name="Revocatus Washington Paul" userId="S::catuspaul_gmail.com#ext#@worldbankgroup.onmicrosoft.com::b13f5400-0b53-417f-9ea3-8ee32bb124d8" providerId="AD" clId="Web-{29CE35AD-7F79-C327-7C99-E1DC353A2929}"/>
    <pc:docChg chg="modSld">
      <pc:chgData name="Revocatus Washington Paul" userId="S::catuspaul_gmail.com#ext#@worldbankgroup.onmicrosoft.com::b13f5400-0b53-417f-9ea3-8ee32bb124d8" providerId="AD" clId="Web-{29CE35AD-7F79-C327-7C99-E1DC353A2929}" dt="2022-03-02T08:41:01.533" v="11" actId="20577"/>
      <pc:docMkLst>
        <pc:docMk/>
      </pc:docMkLst>
      <pc:sldChg chg="modSp">
        <pc:chgData name="Revocatus Washington Paul" userId="S::catuspaul_gmail.com#ext#@worldbankgroup.onmicrosoft.com::b13f5400-0b53-417f-9ea3-8ee32bb124d8" providerId="AD" clId="Web-{29CE35AD-7F79-C327-7C99-E1DC353A2929}" dt="2022-03-02T08:41:01.533" v="11" actId="20577"/>
        <pc:sldMkLst>
          <pc:docMk/>
          <pc:sldMk cId="417170624" sldId="322"/>
        </pc:sldMkLst>
        <pc:spChg chg="mod">
          <ac:chgData name="Revocatus Washington Paul" userId="S::catuspaul_gmail.com#ext#@worldbankgroup.onmicrosoft.com::b13f5400-0b53-417f-9ea3-8ee32bb124d8" providerId="AD" clId="Web-{29CE35AD-7F79-C327-7C99-E1DC353A2929}" dt="2022-03-02T08:40:55.579" v="4" actId="20577"/>
          <ac:spMkLst>
            <pc:docMk/>
            <pc:sldMk cId="417170624" sldId="322"/>
            <ac:spMk id="2" creationId="{18C0CF12-81D5-0D4F-A24F-3BAC5546F0A4}"/>
          </ac:spMkLst>
        </pc:spChg>
        <pc:spChg chg="mod">
          <ac:chgData name="Revocatus Washington Paul" userId="S::catuspaul_gmail.com#ext#@worldbankgroup.onmicrosoft.com::b13f5400-0b53-417f-9ea3-8ee32bb124d8" providerId="AD" clId="Web-{29CE35AD-7F79-C327-7C99-E1DC353A2929}" dt="2022-03-02T08:41:01.533" v="11" actId="20577"/>
          <ac:spMkLst>
            <pc:docMk/>
            <pc:sldMk cId="417170624" sldId="322"/>
            <ac:spMk id="9" creationId="{79F9DC4F-41D5-0F4D-881B-2B30DE10BD2A}"/>
          </ac:spMkLst>
        </pc:spChg>
      </pc:sldChg>
    </pc:docChg>
  </pc:docChgLst>
  <pc:docChgLst>
    <pc:chgData name="Koichi Ito" userId="S::koichi19960406_gmail.com#ext#@worldbankgroup.onmicrosoft.com::f9ef8c51-761c-4d11-abde-96febf25f02b" providerId="AD" clId="Web-{3BB98223-050B-F90F-4E22-675A4E108FB3}"/>
    <pc:docChg chg="delSld">
      <pc:chgData name="Koichi Ito" userId="S::koichi19960406_gmail.com#ext#@worldbankgroup.onmicrosoft.com::f9ef8c51-761c-4d11-abde-96febf25f02b" providerId="AD" clId="Web-{3BB98223-050B-F90F-4E22-675A4E108FB3}" dt="2022-01-24T03:51:50.687" v="24"/>
      <pc:docMkLst>
        <pc:docMk/>
      </pc:docMkLst>
      <pc:sldChg chg="del">
        <pc:chgData name="Koichi Ito" userId="S::koichi19960406_gmail.com#ext#@worldbankgroup.onmicrosoft.com::f9ef8c51-761c-4d11-abde-96febf25f02b" providerId="AD" clId="Web-{3BB98223-050B-F90F-4E22-675A4E108FB3}" dt="2022-01-24T03:51:50.687" v="23"/>
        <pc:sldMkLst>
          <pc:docMk/>
          <pc:sldMk cId="557764285" sldId="263"/>
        </pc:sldMkLst>
      </pc:sldChg>
      <pc:sldChg chg="del">
        <pc:chgData name="Koichi Ito" userId="S::koichi19960406_gmail.com#ext#@worldbankgroup.onmicrosoft.com::f9ef8c51-761c-4d11-abde-96febf25f02b" providerId="AD" clId="Web-{3BB98223-050B-F90F-4E22-675A4E108FB3}" dt="2022-01-24T03:51:50.687" v="24"/>
        <pc:sldMkLst>
          <pc:docMk/>
          <pc:sldMk cId="1508050189" sldId="264"/>
        </pc:sldMkLst>
      </pc:sldChg>
      <pc:sldChg chg="del">
        <pc:chgData name="Koichi Ito" userId="S::koichi19960406_gmail.com#ext#@worldbankgroup.onmicrosoft.com::f9ef8c51-761c-4d11-abde-96febf25f02b" providerId="AD" clId="Web-{3BB98223-050B-F90F-4E22-675A4E108FB3}" dt="2022-01-24T03:51:50.625" v="16"/>
        <pc:sldMkLst>
          <pc:docMk/>
          <pc:sldMk cId="1809080080" sldId="267"/>
        </pc:sldMkLst>
      </pc:sldChg>
      <pc:sldChg chg="del">
        <pc:chgData name="Koichi Ito" userId="S::koichi19960406_gmail.com#ext#@worldbankgroup.onmicrosoft.com::f9ef8c51-761c-4d11-abde-96febf25f02b" providerId="AD" clId="Web-{3BB98223-050B-F90F-4E22-675A4E108FB3}" dt="2022-01-24T03:51:50.593" v="8"/>
        <pc:sldMkLst>
          <pc:docMk/>
          <pc:sldMk cId="197734961" sldId="268"/>
        </pc:sldMkLst>
      </pc:sldChg>
      <pc:sldChg chg="del">
        <pc:chgData name="Koichi Ito" userId="S::koichi19960406_gmail.com#ext#@worldbankgroup.onmicrosoft.com::f9ef8c51-761c-4d11-abde-96febf25f02b" providerId="AD" clId="Web-{3BB98223-050B-F90F-4E22-675A4E108FB3}" dt="2022-01-24T03:51:50.578" v="6"/>
        <pc:sldMkLst>
          <pc:docMk/>
          <pc:sldMk cId="2203970018" sldId="269"/>
        </pc:sldMkLst>
      </pc:sldChg>
      <pc:sldChg chg="del">
        <pc:chgData name="Koichi Ito" userId="S::koichi19960406_gmail.com#ext#@worldbankgroup.onmicrosoft.com::f9ef8c51-761c-4d11-abde-96febf25f02b" providerId="AD" clId="Web-{3BB98223-050B-F90F-4E22-675A4E108FB3}" dt="2022-01-24T03:51:50.593" v="7"/>
        <pc:sldMkLst>
          <pc:docMk/>
          <pc:sldMk cId="4256187428" sldId="276"/>
        </pc:sldMkLst>
      </pc:sldChg>
      <pc:sldChg chg="del">
        <pc:chgData name="Koichi Ito" userId="S::koichi19960406_gmail.com#ext#@worldbankgroup.onmicrosoft.com::f9ef8c51-761c-4d11-abde-96febf25f02b" providerId="AD" clId="Web-{3BB98223-050B-F90F-4E22-675A4E108FB3}" dt="2022-01-24T03:51:50.609" v="15"/>
        <pc:sldMkLst>
          <pc:docMk/>
          <pc:sldMk cId="1323039318" sldId="288"/>
        </pc:sldMkLst>
      </pc:sldChg>
      <pc:sldChg chg="del">
        <pc:chgData name="Koichi Ito" userId="S::koichi19960406_gmail.com#ext#@worldbankgroup.onmicrosoft.com::f9ef8c51-761c-4d11-abde-96febf25f02b" providerId="AD" clId="Web-{3BB98223-050B-F90F-4E22-675A4E108FB3}" dt="2022-01-24T03:51:50.562" v="1"/>
        <pc:sldMkLst>
          <pc:docMk/>
          <pc:sldMk cId="1575846324" sldId="289"/>
        </pc:sldMkLst>
      </pc:sldChg>
      <pc:sldChg chg="del">
        <pc:chgData name="Koichi Ito" userId="S::koichi19960406_gmail.com#ext#@worldbankgroup.onmicrosoft.com::f9ef8c51-761c-4d11-abde-96febf25f02b" providerId="AD" clId="Web-{3BB98223-050B-F90F-4E22-675A4E108FB3}" dt="2022-01-24T03:51:50.593" v="11"/>
        <pc:sldMkLst>
          <pc:docMk/>
          <pc:sldMk cId="3805864057" sldId="292"/>
        </pc:sldMkLst>
      </pc:sldChg>
      <pc:sldChg chg="del">
        <pc:chgData name="Koichi Ito" userId="S::koichi19960406_gmail.com#ext#@worldbankgroup.onmicrosoft.com::f9ef8c51-761c-4d11-abde-96febf25f02b" providerId="AD" clId="Web-{3BB98223-050B-F90F-4E22-675A4E108FB3}" dt="2022-01-24T03:51:50.562" v="0"/>
        <pc:sldMkLst>
          <pc:docMk/>
          <pc:sldMk cId="2809998076" sldId="294"/>
        </pc:sldMkLst>
      </pc:sldChg>
      <pc:sldChg chg="del">
        <pc:chgData name="Koichi Ito" userId="S::koichi19960406_gmail.com#ext#@worldbankgroup.onmicrosoft.com::f9ef8c51-761c-4d11-abde-96febf25f02b" providerId="AD" clId="Web-{3BB98223-050B-F90F-4E22-675A4E108FB3}" dt="2022-01-24T03:51:50.562" v="2"/>
        <pc:sldMkLst>
          <pc:docMk/>
          <pc:sldMk cId="1805953344" sldId="295"/>
        </pc:sldMkLst>
      </pc:sldChg>
      <pc:sldChg chg="del">
        <pc:chgData name="Koichi Ito" userId="S::koichi19960406_gmail.com#ext#@worldbankgroup.onmicrosoft.com::f9ef8c51-761c-4d11-abde-96febf25f02b" providerId="AD" clId="Web-{3BB98223-050B-F90F-4E22-675A4E108FB3}" dt="2022-01-24T03:51:50.687" v="22"/>
        <pc:sldMkLst>
          <pc:docMk/>
          <pc:sldMk cId="2945891053" sldId="296"/>
        </pc:sldMkLst>
      </pc:sldChg>
      <pc:sldChg chg="del">
        <pc:chgData name="Koichi Ito" userId="S::koichi19960406_gmail.com#ext#@worldbankgroup.onmicrosoft.com::f9ef8c51-761c-4d11-abde-96febf25f02b" providerId="AD" clId="Web-{3BB98223-050B-F90F-4E22-675A4E108FB3}" dt="2022-01-24T03:51:50.593" v="12"/>
        <pc:sldMkLst>
          <pc:docMk/>
          <pc:sldMk cId="1936467466" sldId="806"/>
        </pc:sldMkLst>
      </pc:sldChg>
      <pc:sldChg chg="del">
        <pc:chgData name="Koichi Ito" userId="S::koichi19960406_gmail.com#ext#@worldbankgroup.onmicrosoft.com::f9ef8c51-761c-4d11-abde-96febf25f02b" providerId="AD" clId="Web-{3BB98223-050B-F90F-4E22-675A4E108FB3}" dt="2022-01-24T03:51:50.593" v="10"/>
        <pc:sldMkLst>
          <pc:docMk/>
          <pc:sldMk cId="517738782" sldId="808"/>
        </pc:sldMkLst>
      </pc:sldChg>
      <pc:sldChg chg="del">
        <pc:chgData name="Koichi Ito" userId="S::koichi19960406_gmail.com#ext#@worldbankgroup.onmicrosoft.com::f9ef8c51-761c-4d11-abde-96febf25f02b" providerId="AD" clId="Web-{3BB98223-050B-F90F-4E22-675A4E108FB3}" dt="2022-01-24T03:51:50.593" v="9"/>
        <pc:sldMkLst>
          <pc:docMk/>
          <pc:sldMk cId="1762677749" sldId="809"/>
        </pc:sldMkLst>
      </pc:sldChg>
      <pc:sldChg chg="del">
        <pc:chgData name="Koichi Ito" userId="S::koichi19960406_gmail.com#ext#@worldbankgroup.onmicrosoft.com::f9ef8c51-761c-4d11-abde-96febf25f02b" providerId="AD" clId="Web-{3BB98223-050B-F90F-4E22-675A4E108FB3}" dt="2022-01-24T03:51:50.625" v="20"/>
        <pc:sldMkLst>
          <pc:docMk/>
          <pc:sldMk cId="1483813527" sldId="1153"/>
        </pc:sldMkLst>
      </pc:sldChg>
      <pc:sldChg chg="del">
        <pc:chgData name="Koichi Ito" userId="S::koichi19960406_gmail.com#ext#@worldbankgroup.onmicrosoft.com::f9ef8c51-761c-4d11-abde-96febf25f02b" providerId="AD" clId="Web-{3BB98223-050B-F90F-4E22-675A4E108FB3}" dt="2022-01-24T03:51:50.609" v="14"/>
        <pc:sldMkLst>
          <pc:docMk/>
          <pc:sldMk cId="3782137662" sldId="3292"/>
        </pc:sldMkLst>
      </pc:sldChg>
      <pc:sldChg chg="del">
        <pc:chgData name="Koichi Ito" userId="S::koichi19960406_gmail.com#ext#@worldbankgroup.onmicrosoft.com::f9ef8c51-761c-4d11-abde-96febf25f02b" providerId="AD" clId="Web-{3BB98223-050B-F90F-4E22-675A4E108FB3}" dt="2022-01-24T03:51:50.609" v="13"/>
        <pc:sldMkLst>
          <pc:docMk/>
          <pc:sldMk cId="3426137463" sldId="3293"/>
        </pc:sldMkLst>
      </pc:sldChg>
      <pc:sldChg chg="del">
        <pc:chgData name="Koichi Ito" userId="S::koichi19960406_gmail.com#ext#@worldbankgroup.onmicrosoft.com::f9ef8c51-761c-4d11-abde-96febf25f02b" providerId="AD" clId="Web-{3BB98223-050B-F90F-4E22-675A4E108FB3}" dt="2022-01-24T03:51:50.625" v="18"/>
        <pc:sldMkLst>
          <pc:docMk/>
          <pc:sldMk cId="2765328655" sldId="3299"/>
        </pc:sldMkLst>
      </pc:sldChg>
      <pc:sldChg chg="del">
        <pc:chgData name="Koichi Ito" userId="S::koichi19960406_gmail.com#ext#@worldbankgroup.onmicrosoft.com::f9ef8c51-761c-4d11-abde-96febf25f02b" providerId="AD" clId="Web-{3BB98223-050B-F90F-4E22-675A4E108FB3}" dt="2022-01-24T03:51:50.578" v="5"/>
        <pc:sldMkLst>
          <pc:docMk/>
          <pc:sldMk cId="28806722" sldId="3307"/>
        </pc:sldMkLst>
      </pc:sldChg>
      <pc:sldChg chg="del">
        <pc:chgData name="Koichi Ito" userId="S::koichi19960406_gmail.com#ext#@worldbankgroup.onmicrosoft.com::f9ef8c51-761c-4d11-abde-96febf25f02b" providerId="AD" clId="Web-{3BB98223-050B-F90F-4E22-675A4E108FB3}" dt="2022-01-24T03:51:50.578" v="3"/>
        <pc:sldMkLst>
          <pc:docMk/>
          <pc:sldMk cId="2415660214" sldId="3316"/>
        </pc:sldMkLst>
      </pc:sldChg>
      <pc:sldChg chg="del">
        <pc:chgData name="Koichi Ito" userId="S::koichi19960406_gmail.com#ext#@worldbankgroup.onmicrosoft.com::f9ef8c51-761c-4d11-abde-96febf25f02b" providerId="AD" clId="Web-{3BB98223-050B-F90F-4E22-675A4E108FB3}" dt="2022-01-24T03:51:50.625" v="19"/>
        <pc:sldMkLst>
          <pc:docMk/>
          <pc:sldMk cId="320707729" sldId="3322"/>
        </pc:sldMkLst>
      </pc:sldChg>
      <pc:sldChg chg="del">
        <pc:chgData name="Koichi Ito" userId="S::koichi19960406_gmail.com#ext#@worldbankgroup.onmicrosoft.com::f9ef8c51-761c-4d11-abde-96febf25f02b" providerId="AD" clId="Web-{3BB98223-050B-F90F-4E22-675A4E108FB3}" dt="2022-01-24T03:51:50.578" v="4"/>
        <pc:sldMkLst>
          <pc:docMk/>
          <pc:sldMk cId="3023165403" sldId="3324"/>
        </pc:sldMkLst>
      </pc:sldChg>
      <pc:sldChg chg="del">
        <pc:chgData name="Koichi Ito" userId="S::koichi19960406_gmail.com#ext#@worldbankgroup.onmicrosoft.com::f9ef8c51-761c-4d11-abde-96febf25f02b" providerId="AD" clId="Web-{3BB98223-050B-F90F-4E22-675A4E108FB3}" dt="2022-01-24T03:51:50.625" v="17"/>
        <pc:sldMkLst>
          <pc:docMk/>
          <pc:sldMk cId="1120091" sldId="3328"/>
        </pc:sldMkLst>
      </pc:sldChg>
      <pc:sldChg chg="del">
        <pc:chgData name="Koichi Ito" userId="S::koichi19960406_gmail.com#ext#@worldbankgroup.onmicrosoft.com::f9ef8c51-761c-4d11-abde-96febf25f02b" providerId="AD" clId="Web-{3BB98223-050B-F90F-4E22-675A4E108FB3}" dt="2022-01-24T03:51:50.640" v="21"/>
        <pc:sldMkLst>
          <pc:docMk/>
          <pc:sldMk cId="3676367409" sldId="3344"/>
        </pc:sldMkLst>
      </pc:sldChg>
    </pc:docChg>
  </pc:docChgLst>
  <pc:docChgLst>
    <pc:chgData name="Koichi Ito" userId="S::koichi19960406_gmail.com#ext#@worldbankgroup.onmicrosoft.com::f9ef8c51-761c-4d11-abde-96febf25f02b" providerId="AD" clId="Web-{9BB967E0-27F7-F8DF-93D3-B92D76EE3C45}"/>
    <pc:docChg chg="modSld">
      <pc:chgData name="Koichi Ito" userId="S::koichi19960406_gmail.com#ext#@worldbankgroup.onmicrosoft.com::f9ef8c51-761c-4d11-abde-96febf25f02b" providerId="AD" clId="Web-{9BB967E0-27F7-F8DF-93D3-B92D76EE3C45}" dt="2022-03-28T06:52:43.574" v="0" actId="20577"/>
      <pc:docMkLst>
        <pc:docMk/>
      </pc:docMkLst>
      <pc:sldChg chg="modSp">
        <pc:chgData name="Koichi Ito" userId="S::koichi19960406_gmail.com#ext#@worldbankgroup.onmicrosoft.com::f9ef8c51-761c-4d11-abde-96febf25f02b" providerId="AD" clId="Web-{9BB967E0-27F7-F8DF-93D3-B92D76EE3C45}" dt="2022-03-28T06:52:43.574" v="0" actId="20577"/>
        <pc:sldMkLst>
          <pc:docMk/>
          <pc:sldMk cId="1401364146" sldId="328"/>
        </pc:sldMkLst>
        <pc:spChg chg="mod">
          <ac:chgData name="Koichi Ito" userId="S::koichi19960406_gmail.com#ext#@worldbankgroup.onmicrosoft.com::f9ef8c51-761c-4d11-abde-96febf25f02b" providerId="AD" clId="Web-{9BB967E0-27F7-F8DF-93D3-B92D76EE3C45}" dt="2022-03-28T06:52:43.574" v="0" actId="20577"/>
          <ac:spMkLst>
            <pc:docMk/>
            <pc:sldMk cId="1401364146" sldId="328"/>
            <ac:spMk id="35" creationId="{81BF859F-9C13-EE44-8FB4-B138E74DFABD}"/>
          </ac:spMkLst>
        </pc:spChg>
      </pc:sldChg>
    </pc:docChg>
  </pc:docChgLst>
  <pc:docChgLst>
    <pc:chgData name="Revocatus Washington Paul" userId="S::catuspaul_gmail.com#ext#@worldbankgroup.onmicrosoft.com::b13f5400-0b53-417f-9ea3-8ee32bb124d8" providerId="AD" clId="Web-{1CB14918-AD6A-10BA-2763-0BF0757E496E}"/>
    <pc:docChg chg="addSld delSld modSld">
      <pc:chgData name="Revocatus Washington Paul" userId="S::catuspaul_gmail.com#ext#@worldbankgroup.onmicrosoft.com::b13f5400-0b53-417f-9ea3-8ee32bb124d8" providerId="AD" clId="Web-{1CB14918-AD6A-10BA-2763-0BF0757E496E}" dt="2022-03-04T08:36:54.124" v="294" actId="1076"/>
      <pc:docMkLst>
        <pc:docMk/>
      </pc:docMkLst>
      <pc:sldChg chg="delSp del">
        <pc:chgData name="Revocatus Washington Paul" userId="S::catuspaul_gmail.com#ext#@worldbankgroup.onmicrosoft.com::b13f5400-0b53-417f-9ea3-8ee32bb124d8" providerId="AD" clId="Web-{1CB14918-AD6A-10BA-2763-0BF0757E496E}" dt="2022-03-04T08:32:39.291" v="227"/>
        <pc:sldMkLst>
          <pc:docMk/>
          <pc:sldMk cId="2379308332" sldId="359"/>
        </pc:sldMkLst>
        <pc:picChg chg="del">
          <ac:chgData name="Revocatus Washington Paul" userId="S::catuspaul_gmail.com#ext#@worldbankgroup.onmicrosoft.com::b13f5400-0b53-417f-9ea3-8ee32bb124d8" providerId="AD" clId="Web-{1CB14918-AD6A-10BA-2763-0BF0757E496E}" dt="2022-03-04T08:32:36.353" v="226"/>
          <ac:picMkLst>
            <pc:docMk/>
            <pc:sldMk cId="2379308332" sldId="359"/>
            <ac:picMk id="6" creationId="{503F0F58-E7D7-470D-9814-240172827E43}"/>
          </ac:picMkLst>
        </pc:picChg>
      </pc:sldChg>
      <pc:sldChg chg="addSp delSp modSp">
        <pc:chgData name="Revocatus Washington Paul" userId="S::catuspaul_gmail.com#ext#@worldbankgroup.onmicrosoft.com::b13f5400-0b53-417f-9ea3-8ee32bb124d8" providerId="AD" clId="Web-{1CB14918-AD6A-10BA-2763-0BF0757E496E}" dt="2022-03-04T08:35:02.388" v="257" actId="1076"/>
        <pc:sldMkLst>
          <pc:docMk/>
          <pc:sldMk cId="3425921230" sldId="361"/>
        </pc:sldMkLst>
        <pc:spChg chg="mod">
          <ac:chgData name="Revocatus Washington Paul" userId="S::catuspaul_gmail.com#ext#@worldbankgroup.onmicrosoft.com::b13f5400-0b53-417f-9ea3-8ee32bb124d8" providerId="AD" clId="Web-{1CB14918-AD6A-10BA-2763-0BF0757E496E}" dt="2022-03-04T08:30:26.428" v="217" actId="20577"/>
          <ac:spMkLst>
            <pc:docMk/>
            <pc:sldMk cId="3425921230" sldId="361"/>
            <ac:spMk id="2" creationId="{6F428DEF-BC7B-45A2-BAA3-03E55AD44AF2}"/>
          </ac:spMkLst>
        </pc:spChg>
        <pc:spChg chg="add del mod">
          <ac:chgData name="Revocatus Washington Paul" userId="S::catuspaul_gmail.com#ext#@worldbankgroup.onmicrosoft.com::b13f5400-0b53-417f-9ea3-8ee32bb124d8" providerId="AD" clId="Web-{1CB14918-AD6A-10BA-2763-0BF0757E496E}" dt="2022-03-04T08:30:58.507" v="225" actId="1076"/>
          <ac:spMkLst>
            <pc:docMk/>
            <pc:sldMk cId="3425921230" sldId="361"/>
            <ac:spMk id="3" creationId="{6AD38473-9489-4BFC-88D0-1C6A72E33338}"/>
          </ac:spMkLst>
        </pc:spChg>
        <pc:spChg chg="add del mod">
          <ac:chgData name="Revocatus Washington Paul" userId="S::catuspaul_gmail.com#ext#@worldbankgroup.onmicrosoft.com::b13f5400-0b53-417f-9ea3-8ee32bb124d8" providerId="AD" clId="Web-{1CB14918-AD6A-10BA-2763-0BF0757E496E}" dt="2022-03-04T08:30:39.163" v="220"/>
          <ac:spMkLst>
            <pc:docMk/>
            <pc:sldMk cId="3425921230" sldId="361"/>
            <ac:spMk id="9" creationId="{D4294F6E-C2EE-4056-B00E-43366FC1CE52}"/>
          </ac:spMkLst>
        </pc:spChg>
        <pc:picChg chg="add del mod">
          <ac:chgData name="Revocatus Washington Paul" userId="S::catuspaul_gmail.com#ext#@worldbankgroup.onmicrosoft.com::b13f5400-0b53-417f-9ea3-8ee32bb124d8" providerId="AD" clId="Web-{1CB14918-AD6A-10BA-2763-0BF0757E496E}" dt="2022-03-04T08:11:20.856" v="129"/>
          <ac:picMkLst>
            <pc:docMk/>
            <pc:sldMk cId="3425921230" sldId="361"/>
            <ac:picMk id="6" creationId="{0DC81486-AFA6-45C0-8037-17418F590477}"/>
          </ac:picMkLst>
        </pc:picChg>
        <pc:picChg chg="add mod">
          <ac:chgData name="Revocatus Washington Paul" userId="S::catuspaul_gmail.com#ext#@worldbankgroup.onmicrosoft.com::b13f5400-0b53-417f-9ea3-8ee32bb124d8" providerId="AD" clId="Web-{1CB14918-AD6A-10BA-2763-0BF0757E496E}" dt="2022-03-04T08:35:02.388" v="257" actId="1076"/>
          <ac:picMkLst>
            <pc:docMk/>
            <pc:sldMk cId="3425921230" sldId="361"/>
            <ac:picMk id="7" creationId="{8565D5FD-BA3E-4535-AD22-1F171A5E9CA1}"/>
          </ac:picMkLst>
        </pc:picChg>
      </pc:sldChg>
      <pc:sldChg chg="addSp delSp modSp new">
        <pc:chgData name="Revocatus Washington Paul" userId="S::catuspaul_gmail.com#ext#@worldbankgroup.onmicrosoft.com::b13f5400-0b53-417f-9ea3-8ee32bb124d8" providerId="AD" clId="Web-{1CB14918-AD6A-10BA-2763-0BF0757E496E}" dt="2022-03-04T08:33:42.886" v="256" actId="20577"/>
        <pc:sldMkLst>
          <pc:docMk/>
          <pc:sldMk cId="53829710" sldId="362"/>
        </pc:sldMkLst>
        <pc:spChg chg="mod">
          <ac:chgData name="Revocatus Washington Paul" userId="S::catuspaul_gmail.com#ext#@worldbankgroup.onmicrosoft.com::b13f5400-0b53-417f-9ea3-8ee32bb124d8" providerId="AD" clId="Web-{1CB14918-AD6A-10BA-2763-0BF0757E496E}" dt="2022-03-04T08:33:42.886" v="256" actId="20577"/>
          <ac:spMkLst>
            <pc:docMk/>
            <pc:sldMk cId="53829710" sldId="362"/>
            <ac:spMk id="2" creationId="{BD1B06A8-1D0D-4F0B-980A-A14461073483}"/>
          </ac:spMkLst>
        </pc:spChg>
        <pc:spChg chg="del">
          <ac:chgData name="Revocatus Washington Paul" userId="S::catuspaul_gmail.com#ext#@worldbankgroup.onmicrosoft.com::b13f5400-0b53-417f-9ea3-8ee32bb124d8" providerId="AD" clId="Web-{1CB14918-AD6A-10BA-2763-0BF0757E496E}" dt="2022-03-04T08:32:54.025" v="229"/>
          <ac:spMkLst>
            <pc:docMk/>
            <pc:sldMk cId="53829710" sldId="362"/>
            <ac:spMk id="3" creationId="{A704A1FA-0172-44F7-BFC6-5A5A8235F5B4}"/>
          </ac:spMkLst>
        </pc:spChg>
        <pc:picChg chg="add mod">
          <ac:chgData name="Revocatus Washington Paul" userId="S::catuspaul_gmail.com#ext#@worldbankgroup.onmicrosoft.com::b13f5400-0b53-417f-9ea3-8ee32bb124d8" providerId="AD" clId="Web-{1CB14918-AD6A-10BA-2763-0BF0757E496E}" dt="2022-03-04T08:33:12.385" v="234" actId="1076"/>
          <ac:picMkLst>
            <pc:docMk/>
            <pc:sldMk cId="53829710" sldId="362"/>
            <ac:picMk id="6" creationId="{047CDA6B-DB73-4FE0-ABF6-FD371435576A}"/>
          </ac:picMkLst>
        </pc:picChg>
      </pc:sldChg>
      <pc:sldChg chg="delSp modSp new">
        <pc:chgData name="Revocatus Washington Paul" userId="S::catuspaul_gmail.com#ext#@worldbankgroup.onmicrosoft.com::b13f5400-0b53-417f-9ea3-8ee32bb124d8" providerId="AD" clId="Web-{1CB14918-AD6A-10BA-2763-0BF0757E496E}" dt="2022-03-04T08:36:54.124" v="294" actId="1076"/>
        <pc:sldMkLst>
          <pc:docMk/>
          <pc:sldMk cId="2248430675" sldId="363"/>
        </pc:sldMkLst>
        <pc:spChg chg="del">
          <ac:chgData name="Revocatus Washington Paul" userId="S::catuspaul_gmail.com#ext#@worldbankgroup.onmicrosoft.com::b13f5400-0b53-417f-9ea3-8ee32bb124d8" providerId="AD" clId="Web-{1CB14918-AD6A-10BA-2763-0BF0757E496E}" dt="2022-03-04T08:35:41.138" v="259"/>
          <ac:spMkLst>
            <pc:docMk/>
            <pc:sldMk cId="2248430675" sldId="363"/>
            <ac:spMk id="2" creationId="{ABE7402B-EE10-4085-B5A1-9B411D244F8B}"/>
          </ac:spMkLst>
        </pc:spChg>
        <pc:spChg chg="mod">
          <ac:chgData name="Revocatus Washington Paul" userId="S::catuspaul_gmail.com#ext#@worldbankgroup.onmicrosoft.com::b13f5400-0b53-417f-9ea3-8ee32bb124d8" providerId="AD" clId="Web-{1CB14918-AD6A-10BA-2763-0BF0757E496E}" dt="2022-03-04T08:36:54.124" v="294" actId="1076"/>
          <ac:spMkLst>
            <pc:docMk/>
            <pc:sldMk cId="2248430675" sldId="363"/>
            <ac:spMk id="3" creationId="{9E9C2FA6-A852-4003-B484-DB530EC37CFC}"/>
          </ac:spMkLst>
        </pc:spChg>
      </pc:sldChg>
    </pc:docChg>
  </pc:docChgLst>
  <pc:docChgLst>
    <pc:chgData name="Revocatus Washington Paul" userId="S::catuspaul_gmail.com#ext#@worldbankgroup.onmicrosoft.com::b13f5400-0b53-417f-9ea3-8ee32bb124d8" providerId="AD" clId="Web-{F2F33BB4-9ACA-7416-4EB2-BE551EC4D591}"/>
    <pc:docChg chg="modSld">
      <pc:chgData name="Revocatus Washington Paul" userId="S::catuspaul_gmail.com#ext#@worldbankgroup.onmicrosoft.com::b13f5400-0b53-417f-9ea3-8ee32bb124d8" providerId="AD" clId="Web-{F2F33BB4-9ACA-7416-4EB2-BE551EC4D591}" dt="2022-02-21T06:58:19.254" v="4" actId="20577"/>
      <pc:docMkLst>
        <pc:docMk/>
      </pc:docMkLst>
      <pc:sldChg chg="modSp">
        <pc:chgData name="Revocatus Washington Paul" userId="S::catuspaul_gmail.com#ext#@worldbankgroup.onmicrosoft.com::b13f5400-0b53-417f-9ea3-8ee32bb124d8" providerId="AD" clId="Web-{F2F33BB4-9ACA-7416-4EB2-BE551EC4D591}" dt="2022-02-21T06:58:19.254" v="4" actId="20577"/>
        <pc:sldMkLst>
          <pc:docMk/>
          <pc:sldMk cId="1796130260" sldId="279"/>
        </pc:sldMkLst>
        <pc:spChg chg="mod">
          <ac:chgData name="Revocatus Washington Paul" userId="S::catuspaul_gmail.com#ext#@worldbankgroup.onmicrosoft.com::b13f5400-0b53-417f-9ea3-8ee32bb124d8" providerId="AD" clId="Web-{F2F33BB4-9ACA-7416-4EB2-BE551EC4D591}" dt="2022-02-21T06:58:19.254" v="4" actId="20577"/>
          <ac:spMkLst>
            <pc:docMk/>
            <pc:sldMk cId="1796130260" sldId="279"/>
            <ac:spMk id="10" creationId="{DDD61ABB-EBDC-FA49-AD27-5698C4A92B75}"/>
          </ac:spMkLst>
        </pc:spChg>
      </pc:sldChg>
    </pc:docChg>
  </pc:docChgLst>
  <pc:docChgLst>
    <pc:chgData name="Takaaki Masaki" userId="56a88eee-ec65-40f9-8642-be59fd24ba9b" providerId="ADAL" clId="{BE8B00C3-A11E-4706-A350-9EFB3B223751}"/>
    <pc:docChg chg="custSel modSld">
      <pc:chgData name="Takaaki Masaki" userId="56a88eee-ec65-40f9-8642-be59fd24ba9b" providerId="ADAL" clId="{BE8B00C3-A11E-4706-A350-9EFB3B223751}" dt="2022-02-21T01:39:14.520" v="65" actId="478"/>
      <pc:docMkLst>
        <pc:docMk/>
      </pc:docMkLst>
      <pc:sldChg chg="addSp delSp modSp mod">
        <pc:chgData name="Takaaki Masaki" userId="56a88eee-ec65-40f9-8642-be59fd24ba9b" providerId="ADAL" clId="{BE8B00C3-A11E-4706-A350-9EFB3B223751}" dt="2022-02-21T01:02:32.691" v="48" actId="113"/>
        <pc:sldMkLst>
          <pc:docMk/>
          <pc:sldMk cId="2539712035" sldId="256"/>
        </pc:sldMkLst>
        <pc:spChg chg="del">
          <ac:chgData name="Takaaki Masaki" userId="56a88eee-ec65-40f9-8642-be59fd24ba9b" providerId="ADAL" clId="{BE8B00C3-A11E-4706-A350-9EFB3B223751}" dt="2022-02-21T00:52:05.012" v="0" actId="478"/>
          <ac:spMkLst>
            <pc:docMk/>
            <pc:sldMk cId="2539712035" sldId="256"/>
            <ac:spMk id="3" creationId="{9BD1DEA5-3A2E-4FD9-9036-60D3104EA00D}"/>
          </ac:spMkLst>
        </pc:spChg>
        <pc:spChg chg="mod">
          <ac:chgData name="Takaaki Masaki" userId="56a88eee-ec65-40f9-8642-be59fd24ba9b" providerId="ADAL" clId="{BE8B00C3-A11E-4706-A350-9EFB3B223751}" dt="2022-02-21T01:02:32.691" v="48" actId="113"/>
          <ac:spMkLst>
            <pc:docMk/>
            <pc:sldMk cId="2539712035" sldId="256"/>
            <ac:spMk id="4" creationId="{D23673E8-12C1-4920-980E-880DA27CB9D6}"/>
          </ac:spMkLst>
        </pc:spChg>
        <pc:spChg chg="del">
          <ac:chgData name="Takaaki Masaki" userId="56a88eee-ec65-40f9-8642-be59fd24ba9b" providerId="ADAL" clId="{BE8B00C3-A11E-4706-A350-9EFB3B223751}" dt="2022-02-21T01:01:07.377" v="1" actId="22"/>
          <ac:spMkLst>
            <pc:docMk/>
            <pc:sldMk cId="2539712035" sldId="256"/>
            <ac:spMk id="5" creationId="{C850804E-FCCC-4283-950A-83B7D00F344A}"/>
          </ac:spMkLst>
        </pc:spChg>
        <pc:picChg chg="add mod ord modCrop">
          <ac:chgData name="Takaaki Masaki" userId="56a88eee-ec65-40f9-8642-be59fd24ba9b" providerId="ADAL" clId="{BE8B00C3-A11E-4706-A350-9EFB3B223751}" dt="2022-02-21T01:01:47.548" v="10" actId="1076"/>
          <ac:picMkLst>
            <pc:docMk/>
            <pc:sldMk cId="2539712035" sldId="256"/>
            <ac:picMk id="6" creationId="{8148C4B5-924E-41B6-900F-2AC7725246C0}"/>
          </ac:picMkLst>
        </pc:picChg>
      </pc:sldChg>
      <pc:sldChg chg="delSp">
        <pc:chgData name="Takaaki Masaki" userId="56a88eee-ec65-40f9-8642-be59fd24ba9b" providerId="ADAL" clId="{BE8B00C3-A11E-4706-A350-9EFB3B223751}" dt="2022-02-21T01:02:52.816" v="51" actId="478"/>
        <pc:sldMkLst>
          <pc:docMk/>
          <pc:sldMk cId="363020870" sldId="258"/>
        </pc:sldMkLst>
        <pc:spChg chg="del">
          <ac:chgData name="Takaaki Masaki" userId="56a88eee-ec65-40f9-8642-be59fd24ba9b" providerId="ADAL" clId="{BE8B00C3-A11E-4706-A350-9EFB3B223751}" dt="2022-02-21T01:02:48.457" v="49" actId="478"/>
          <ac:spMkLst>
            <pc:docMk/>
            <pc:sldMk cId="363020870" sldId="258"/>
            <ac:spMk id="3" creationId="{3EE0DA0E-4180-4226-A6C5-B8C9859EB37D}"/>
          </ac:spMkLst>
        </pc:spChg>
        <pc:spChg chg="del">
          <ac:chgData name="Takaaki Masaki" userId="56a88eee-ec65-40f9-8642-be59fd24ba9b" providerId="ADAL" clId="{BE8B00C3-A11E-4706-A350-9EFB3B223751}" dt="2022-02-21T01:02:52.816" v="51" actId="478"/>
          <ac:spMkLst>
            <pc:docMk/>
            <pc:sldMk cId="363020870" sldId="258"/>
            <ac:spMk id="4" creationId="{1EE6E14C-DFEC-4A41-972C-3C099E1C11EF}"/>
          </ac:spMkLst>
        </pc:spChg>
        <pc:spChg chg="del">
          <ac:chgData name="Takaaki Masaki" userId="56a88eee-ec65-40f9-8642-be59fd24ba9b" providerId="ADAL" clId="{BE8B00C3-A11E-4706-A350-9EFB3B223751}" dt="2022-02-21T01:02:50.802" v="50" actId="478"/>
          <ac:spMkLst>
            <pc:docMk/>
            <pc:sldMk cId="363020870" sldId="258"/>
            <ac:spMk id="5" creationId="{690978AD-00A2-4582-B389-CFB3FB3E3D1D}"/>
          </ac:spMkLst>
        </pc:spChg>
      </pc:sldChg>
      <pc:sldChg chg="modSp mod">
        <pc:chgData name="Takaaki Masaki" userId="56a88eee-ec65-40f9-8642-be59fd24ba9b" providerId="ADAL" clId="{BE8B00C3-A11E-4706-A350-9EFB3B223751}" dt="2022-02-21T01:04:46.632" v="63" actId="20577"/>
        <pc:sldMkLst>
          <pc:docMk/>
          <pc:sldMk cId="4062278478" sldId="268"/>
        </pc:sldMkLst>
        <pc:spChg chg="mod">
          <ac:chgData name="Takaaki Masaki" userId="56a88eee-ec65-40f9-8642-be59fd24ba9b" providerId="ADAL" clId="{BE8B00C3-A11E-4706-A350-9EFB3B223751}" dt="2022-02-21T01:04:32.232" v="57" actId="20577"/>
          <ac:spMkLst>
            <pc:docMk/>
            <pc:sldMk cId="4062278478" sldId="268"/>
            <ac:spMk id="8" creationId="{150B18A2-40EA-4543-91EF-FB5D1EA694B8}"/>
          </ac:spMkLst>
        </pc:spChg>
        <pc:spChg chg="mod">
          <ac:chgData name="Takaaki Masaki" userId="56a88eee-ec65-40f9-8642-be59fd24ba9b" providerId="ADAL" clId="{BE8B00C3-A11E-4706-A350-9EFB3B223751}" dt="2022-02-21T01:04:46.632" v="63" actId="20577"/>
          <ac:spMkLst>
            <pc:docMk/>
            <pc:sldMk cId="4062278478" sldId="268"/>
            <ac:spMk id="9" creationId="{EF46FD93-006D-1841-9BF2-A76B949BB2B1}"/>
          </ac:spMkLst>
        </pc:spChg>
      </pc:sldChg>
      <pc:sldChg chg="delSp mod">
        <pc:chgData name="Takaaki Masaki" userId="56a88eee-ec65-40f9-8642-be59fd24ba9b" providerId="ADAL" clId="{BE8B00C3-A11E-4706-A350-9EFB3B223751}" dt="2022-02-21T01:39:14.520" v="65" actId="478"/>
        <pc:sldMkLst>
          <pc:docMk/>
          <pc:sldMk cId="3044218326" sldId="297"/>
        </pc:sldMkLst>
        <pc:spChg chg="del">
          <ac:chgData name="Takaaki Masaki" userId="56a88eee-ec65-40f9-8642-be59fd24ba9b" providerId="ADAL" clId="{BE8B00C3-A11E-4706-A350-9EFB3B223751}" dt="2022-02-21T01:39:12.323" v="64" actId="478"/>
          <ac:spMkLst>
            <pc:docMk/>
            <pc:sldMk cId="3044218326" sldId="297"/>
            <ac:spMk id="3" creationId="{3EE0DA0E-4180-4226-A6C5-B8C9859EB37D}"/>
          </ac:spMkLst>
        </pc:spChg>
        <pc:spChg chg="del">
          <ac:chgData name="Takaaki Masaki" userId="56a88eee-ec65-40f9-8642-be59fd24ba9b" providerId="ADAL" clId="{BE8B00C3-A11E-4706-A350-9EFB3B223751}" dt="2022-02-21T01:39:14.520" v="65" actId="478"/>
          <ac:spMkLst>
            <pc:docMk/>
            <pc:sldMk cId="3044218326" sldId="297"/>
            <ac:spMk id="5" creationId="{690978AD-00A2-4582-B389-CFB3FB3E3D1D}"/>
          </ac:spMkLst>
        </pc:spChg>
      </pc:sldChg>
    </pc:docChg>
  </pc:docChgLst>
  <pc:docChgLst>
    <pc:chgData name="Revocatus Washington Paul" userId="S::catuspaul_gmail.com#ext#@worldbankgroup.onmicrosoft.com::b13f5400-0b53-417f-9ea3-8ee32bb124d8" providerId="AD" clId="Web-{038A554F-BCE7-DF24-746C-1A6464DDBFA7}"/>
    <pc:docChg chg="modSld">
      <pc:chgData name="Revocatus Washington Paul" userId="S::catuspaul_gmail.com#ext#@worldbankgroup.onmicrosoft.com::b13f5400-0b53-417f-9ea3-8ee32bb124d8" providerId="AD" clId="Web-{038A554F-BCE7-DF24-746C-1A6464DDBFA7}" dt="2022-03-05T14:45:37.724" v="14" actId="20577"/>
      <pc:docMkLst>
        <pc:docMk/>
      </pc:docMkLst>
      <pc:sldChg chg="modSp">
        <pc:chgData name="Revocatus Washington Paul" userId="S::catuspaul_gmail.com#ext#@worldbankgroup.onmicrosoft.com::b13f5400-0b53-417f-9ea3-8ee32bb124d8" providerId="AD" clId="Web-{038A554F-BCE7-DF24-746C-1A6464DDBFA7}" dt="2022-03-05T14:45:37.724" v="14" actId="20577"/>
        <pc:sldMkLst>
          <pc:docMk/>
          <pc:sldMk cId="3352592262" sldId="257"/>
        </pc:sldMkLst>
        <pc:spChg chg="mod">
          <ac:chgData name="Revocatus Washington Paul" userId="S::catuspaul_gmail.com#ext#@worldbankgroup.onmicrosoft.com::b13f5400-0b53-417f-9ea3-8ee32bb124d8" providerId="AD" clId="Web-{038A554F-BCE7-DF24-746C-1A6464DDBFA7}" dt="2022-03-05T14:45:37.724" v="14" actId="20577"/>
          <ac:spMkLst>
            <pc:docMk/>
            <pc:sldMk cId="3352592262" sldId="257"/>
            <ac:spMk id="3" creationId="{B894210C-9002-4DA4-9DD8-4CF05F405920}"/>
          </ac:spMkLst>
        </pc:spChg>
      </pc:sldChg>
      <pc:sldChg chg="modSp">
        <pc:chgData name="Revocatus Washington Paul" userId="S::catuspaul_gmail.com#ext#@worldbankgroup.onmicrosoft.com::b13f5400-0b53-417f-9ea3-8ee32bb124d8" providerId="AD" clId="Web-{038A554F-BCE7-DF24-746C-1A6464DDBFA7}" dt="2022-03-05T14:45:20.192" v="5" actId="20577"/>
        <pc:sldMkLst>
          <pc:docMk/>
          <pc:sldMk cId="553589282" sldId="261"/>
        </pc:sldMkLst>
        <pc:spChg chg="mod">
          <ac:chgData name="Revocatus Washington Paul" userId="S::catuspaul_gmail.com#ext#@worldbankgroup.onmicrosoft.com::b13f5400-0b53-417f-9ea3-8ee32bb124d8" providerId="AD" clId="Web-{038A554F-BCE7-DF24-746C-1A6464DDBFA7}" dt="2022-03-05T14:45:20.192" v="5" actId="20577"/>
          <ac:spMkLst>
            <pc:docMk/>
            <pc:sldMk cId="553589282" sldId="261"/>
            <ac:spMk id="2" creationId="{E01226A3-FD12-4BA7-ABF5-9D408688073E}"/>
          </ac:spMkLst>
        </pc:spChg>
      </pc:sldChg>
    </pc:docChg>
  </pc:docChgLst>
  <pc:docChgLst>
    <pc:chgData name="Revocatus Washington Paul" userId="S::catuspaul_gmail.com#ext#@worldbankgroup.onmicrosoft.com::b13f5400-0b53-417f-9ea3-8ee32bb124d8" providerId="AD" clId="Web-{0922F64F-1FF4-C16B-2D0A-0BE6681EB12C}"/>
    <pc:docChg chg="mod modSld modMainMaster">
      <pc:chgData name="Revocatus Washington Paul" userId="S::catuspaul_gmail.com#ext#@worldbankgroup.onmicrosoft.com::b13f5400-0b53-417f-9ea3-8ee32bb124d8" providerId="AD" clId="Web-{0922F64F-1FF4-C16B-2D0A-0BE6681EB12C}" dt="2022-03-09T07:15:10.723" v="101" actId="20577"/>
      <pc:docMkLst>
        <pc:docMk/>
      </pc:docMkLst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352592262" sldId="257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352592262" sldId="257"/>
            <ac:spMk id="4" creationId="{B51EE5FC-BB57-42AC-A7DB-7EFEC9209AF8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352592262" sldId="257"/>
            <ac:spMk id="5" creationId="{02315522-F74C-4F66-AB6E-F6A38E077DE7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352592262" sldId="257"/>
            <ac:spMk id="6" creationId="{CA2B1802-EDD5-482F-80D4-039B0DBED41F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352592262" sldId="257"/>
            <ac:spMk id="7" creationId="{6894D879-516E-4970-BF01-A5C807B4E9E3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961101582" sldId="260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961101582" sldId="260"/>
            <ac:spMk id="3" creationId="{43004A35-3C9B-4926-9350-14583BECB187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961101582" sldId="260"/>
            <ac:spMk id="4" creationId="{303353B8-6041-4DEE-A84E-20B6BB4C915E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961101582" sldId="260"/>
            <ac:spMk id="5" creationId="{FED7D9D4-B274-4CB0-9099-9AB19962EB81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961101582" sldId="260"/>
            <ac:spMk id="8" creationId="{A91450E7-1ABA-487C-8211-6CD07D19125A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2126581259" sldId="262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126581259" sldId="262"/>
            <ac:spMk id="3" creationId="{AC236F35-0A9E-47A7-904B-59FDC865590A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126581259" sldId="262"/>
            <ac:spMk id="4" creationId="{FF79E670-E1AA-4DAC-B8DC-58D93B8EE0A0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2126581259" sldId="262"/>
            <ac:spMk id="5" creationId="{22B5ADB1-6796-D148-92F8-3202FA600380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2126581259" sldId="262"/>
            <ac:spMk id="6" creationId="{CE5103FD-2D91-48F7-8FA4-50E0195E7F54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25861721" sldId="264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5861721" sldId="264"/>
            <ac:spMk id="3" creationId="{EEFB8F2C-0F54-47A5-90B3-1D44B5EA49D7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5861721" sldId="264"/>
            <ac:spMk id="4" creationId="{ED86474F-9B2E-4F18-9B96-49397351ABE1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25861721" sldId="264"/>
            <ac:spMk id="5" creationId="{22B5ADB1-6796-D148-92F8-3202FA600380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25861721" sldId="264"/>
            <ac:spMk id="6" creationId="{874260ED-BDE2-49FA-BAF4-3E11658DAA99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4156061048" sldId="265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4156061048" sldId="265"/>
            <ac:spMk id="3" creationId="{0EAA32B7-7302-42B7-BE78-63349A31E1EA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4156061048" sldId="265"/>
            <ac:spMk id="4" creationId="{463DB7D4-EC15-47DD-A34A-930BDECF61D4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4156061048" sldId="265"/>
            <ac:spMk id="5" creationId="{6835BBEB-4E21-654B-9FB4-217D124FF879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4156061048" sldId="265"/>
            <ac:spMk id="10" creationId="{216AAD36-0F68-4641-BC98-14E6E1C0A2D9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4062278478" sldId="268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4062278478" sldId="268"/>
            <ac:spMk id="3" creationId="{1780F16D-366F-46FB-B69D-BAE1651D36D4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4062278478" sldId="268"/>
            <ac:spMk id="4" creationId="{580F83C4-3769-4AF7-94D8-BD9ADA47AC3B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4062278478" sldId="268"/>
            <ac:spMk id="5" creationId="{E47E27AB-E1A4-F140-B6EB-11F679417487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4062278478" sldId="268"/>
            <ac:spMk id="6" creationId="{A48A7DB4-09E8-4065-A45A-DB1D16E32802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881752054" sldId="270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881752054" sldId="270"/>
            <ac:spMk id="3" creationId="{87352165-DC5D-4A06-A53A-FB9D3BE66B0B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881752054" sldId="270"/>
            <ac:spMk id="4" creationId="{048CF9E2-F38D-4CB5-9236-91F09807A3C7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881752054" sldId="270"/>
            <ac:spMk id="5" creationId="{B1D3025A-1E10-1241-A0FE-C9041C34CD8F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881752054" sldId="270"/>
            <ac:spMk id="6" creationId="{345DFD21-0309-47B5-9FAD-C7D5A524E6B3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019570019" sldId="271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019570019" sldId="271"/>
            <ac:spMk id="3" creationId="{CE4EB942-3534-4A12-AA64-71C2B6C88895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019570019" sldId="271"/>
            <ac:spMk id="4" creationId="{25180F7A-62E9-4BBC-9DC5-FD718715CD18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019570019" sldId="271"/>
            <ac:spMk id="5" creationId="{B1D3025A-1E10-1241-A0FE-C9041C34CD8F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019570019" sldId="271"/>
            <ac:spMk id="7" creationId="{31F95FAE-ECB6-4BC9-9F3A-06CC41CCFFCB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217402464" sldId="272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17402464" sldId="272"/>
            <ac:spMk id="3" creationId="{6C177B9C-6CE7-475A-B3CC-4BB12247B317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17402464" sldId="272"/>
            <ac:spMk id="4" creationId="{27674678-FB26-481C-AB41-22FA4CE3AE5C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217402464" sldId="272"/>
            <ac:spMk id="5" creationId="{B1D3025A-1E10-1241-A0FE-C9041C34CD8F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217402464" sldId="272"/>
            <ac:spMk id="6" creationId="{E4238ACC-C147-4A81-B4C2-6CD42974A74F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576614564" sldId="274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576614564" sldId="274"/>
            <ac:spMk id="3" creationId="{216B6C5C-533D-42A6-9C53-013D4F5ABA80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576614564" sldId="274"/>
            <ac:spMk id="4" creationId="{E8CCC57E-0F7F-4A12-BA28-54B21C28D550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576614564" sldId="274"/>
            <ac:spMk id="5" creationId="{B1D3025A-1E10-1241-A0FE-C9041C34CD8F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576614564" sldId="274"/>
            <ac:spMk id="7" creationId="{EACAFBD0-D51C-4D07-B5AE-0A643F2BB17C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559914308" sldId="275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559914308" sldId="275"/>
            <ac:spMk id="3" creationId="{49025C34-83B4-4928-9D0A-838D11D6D882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559914308" sldId="275"/>
            <ac:spMk id="4" creationId="{695A0E0F-6327-4BD5-8A39-60E7A868CF8F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559914308" sldId="275"/>
            <ac:spMk id="5" creationId="{B1D3025A-1E10-1241-A0FE-C9041C34CD8F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559914308" sldId="275"/>
            <ac:spMk id="6" creationId="{2AA01F5F-39ED-4830-98C6-E2723E495564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2281439180" sldId="276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281439180" sldId="276"/>
            <ac:spMk id="3" creationId="{ABCC65B9-98E7-42ED-BDD1-3C4675E90586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281439180" sldId="276"/>
            <ac:spMk id="4" creationId="{F2088BA2-1BF8-45F6-BE5D-FD122DC12723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2281439180" sldId="276"/>
            <ac:spMk id="5" creationId="{B1D3025A-1E10-1241-A0FE-C9041C34CD8F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2281439180" sldId="276"/>
            <ac:spMk id="6" creationId="{B59B8B79-69A4-4AE2-A3E6-F23FB2021A0F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416035135" sldId="277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416035135" sldId="277"/>
            <ac:spMk id="3" creationId="{2B968C93-EFAB-47FF-878B-5731F5D5BACC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416035135" sldId="277"/>
            <ac:spMk id="4" creationId="{46F1FACA-94E2-480F-96D8-A46BFB9F3E43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416035135" sldId="277"/>
            <ac:spMk id="5" creationId="{B1D3025A-1E10-1241-A0FE-C9041C34CD8F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416035135" sldId="277"/>
            <ac:spMk id="7" creationId="{A24986F2-FD0B-4D8C-B4AC-97CC23F31E2D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1825696332" sldId="278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825696332" sldId="278"/>
            <ac:spMk id="3" creationId="{F70D885E-C253-48E5-8E0B-49B206672CC5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825696332" sldId="278"/>
            <ac:spMk id="4" creationId="{1D9C6756-29DB-43D8-B351-46F6D763FAD0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1825696332" sldId="278"/>
            <ac:spMk id="5" creationId="{B1D3025A-1E10-1241-A0FE-C9041C34CD8F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1825696332" sldId="278"/>
            <ac:spMk id="6" creationId="{18379EE8-FA74-463B-B85E-40042808CBC1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1796130260" sldId="279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796130260" sldId="279"/>
            <ac:spMk id="3" creationId="{E6FA2BB1-4C99-4E53-A2CA-74326BE606D3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796130260" sldId="279"/>
            <ac:spMk id="4" creationId="{D03689AD-BCAF-4A48-88E6-66C96A1D60E6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1796130260" sldId="279"/>
            <ac:spMk id="5" creationId="{B1D3025A-1E10-1241-A0FE-C9041C34CD8F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1796130260" sldId="279"/>
            <ac:spMk id="7" creationId="{D64ADB36-3362-4D5C-BBBA-ADD817B31B22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543936518" sldId="280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543936518" sldId="280"/>
            <ac:spMk id="3" creationId="{C1F22D49-226D-426D-91DA-CAE0989DC114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543936518" sldId="280"/>
            <ac:spMk id="4" creationId="{3E78336F-F8DD-4AD3-8195-058BECF6F5AE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543936518" sldId="280"/>
            <ac:spMk id="5" creationId="{B1D3025A-1E10-1241-A0FE-C9041C34CD8F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543936518" sldId="280"/>
            <ac:spMk id="6" creationId="{7020E284-B604-4658-A7A8-04D15CD86DB4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4067997508" sldId="281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4067997508" sldId="281"/>
            <ac:spMk id="3" creationId="{442D0F6C-060E-464F-92A5-2C91972C0716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4067997508" sldId="281"/>
            <ac:spMk id="4" creationId="{5A69E081-C65F-4914-B892-A61A31B2F6DE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4067997508" sldId="281"/>
            <ac:spMk id="5" creationId="{B1D3025A-1E10-1241-A0FE-C9041C34CD8F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4067997508" sldId="281"/>
            <ac:spMk id="7" creationId="{C2651FD1-AC54-4BE8-9DCF-BB1141868470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2749391245" sldId="283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749391245" sldId="283"/>
            <ac:spMk id="3" creationId="{B6A9DDD3-80A0-42C3-8A79-36FADDE729C3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749391245" sldId="283"/>
            <ac:spMk id="4" creationId="{D67DDCBD-3A09-4D94-AEF3-65A5BFCA65C7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2749391245" sldId="283"/>
            <ac:spMk id="5" creationId="{B1D3025A-1E10-1241-A0FE-C9041C34CD8F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2749391245" sldId="283"/>
            <ac:spMk id="7" creationId="{B67C751F-7D66-4D07-B309-7E6FED55C987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620493443" sldId="285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620493443" sldId="285"/>
            <ac:spMk id="3" creationId="{EDD244ED-4819-4E8D-ABBC-DB5838B90703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620493443" sldId="285"/>
            <ac:spMk id="4" creationId="{05835D4C-1EE1-45C2-A997-D361502B7035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620493443" sldId="285"/>
            <ac:spMk id="5" creationId="{B1D3025A-1E10-1241-A0FE-C9041C34CD8F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620493443" sldId="285"/>
            <ac:spMk id="8" creationId="{C064A59A-4D98-4B68-AB84-AB313E50D4A1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1750090798" sldId="286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750090798" sldId="286"/>
            <ac:spMk id="3" creationId="{2FE838EC-9706-4D4A-9E26-34DF9977326C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750090798" sldId="286"/>
            <ac:spMk id="4" creationId="{7456FB2F-8C8D-4BCF-AC34-9F7FC4EBD272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1750090798" sldId="286"/>
            <ac:spMk id="5" creationId="{B1D3025A-1E10-1241-A0FE-C9041C34CD8F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1750090798" sldId="286"/>
            <ac:spMk id="6" creationId="{726137DA-207E-498E-B04D-0D43290EC317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338456390" sldId="287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338456390" sldId="287"/>
            <ac:spMk id="3" creationId="{05F333A3-F369-4BF3-A626-73FB7CD0084C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338456390" sldId="287"/>
            <ac:spMk id="4" creationId="{2D48E3B5-AB4B-4159-B6B9-3115F7E510EC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338456390" sldId="287"/>
            <ac:spMk id="5" creationId="{B1D3025A-1E10-1241-A0FE-C9041C34CD8F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338456390" sldId="287"/>
            <ac:spMk id="7" creationId="{7E922179-740C-4B3A-82BA-C989B2AA795A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135186025" sldId="289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35186025" sldId="289"/>
            <ac:spMk id="4" creationId="{740BAA07-8C12-410D-AA2D-2EEF052D66BD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135186025" sldId="289"/>
            <ac:spMk id="5" creationId="{555604FE-141D-6645-AB98-E5D4D3C90856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35186025" sldId="289"/>
            <ac:spMk id="6" creationId="{5A9321D4-1E98-4052-A1B3-61B71DE27A72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135186025" sldId="289"/>
            <ac:spMk id="7" creationId="{747DD43D-B6A4-4AC4-859B-6626548903E1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274050655" sldId="291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274050655" sldId="291"/>
            <ac:spMk id="3" creationId="{365B634E-C9E0-4C17-B8E6-D4044A8C04D2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274050655" sldId="291"/>
            <ac:spMk id="4" creationId="{C9A7A55C-AC68-45D4-9D6B-79A802A1623F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274050655" sldId="291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274050655" sldId="291"/>
            <ac:spMk id="6" creationId="{1CF01C26-865B-4630-B39E-F142D2CE4AA4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240112873" sldId="292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240112873" sldId="292"/>
            <ac:spMk id="3" creationId="{51020DAE-ABDA-479B-8A99-E140617E9352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240112873" sldId="292"/>
            <ac:spMk id="4" creationId="{1F2033A0-4E09-476B-BBDF-9E01D97E7B09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240112873" sldId="292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240112873" sldId="292"/>
            <ac:spMk id="7" creationId="{F71FA181-5470-4639-A1EF-1F4E9D3F351F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1719800161" sldId="293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719800161" sldId="293"/>
            <ac:spMk id="3" creationId="{1049D59D-EE60-4DF6-A2DA-6BFCDCB92437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719800161" sldId="293"/>
            <ac:spMk id="4" creationId="{7E691A88-0B6D-4728-AFFD-AD0EDC555EF3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1719800161" sldId="293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1719800161" sldId="293"/>
            <ac:spMk id="6" creationId="{126CB188-2471-4ED8-969B-84D3E8E37DD9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010995884" sldId="294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010995884" sldId="294"/>
            <ac:spMk id="3" creationId="{F78A9824-2923-4280-B83D-2CEAEEF1E69D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010995884" sldId="294"/>
            <ac:spMk id="4" creationId="{C525CBDD-0DFC-481F-A7EF-9BBFB94EEE97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010995884" sldId="294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010995884" sldId="294"/>
            <ac:spMk id="6" creationId="{BA97B893-F4CB-4ED1-8CA5-18456EDD84FD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793778490" sldId="295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793778490" sldId="295"/>
            <ac:spMk id="3" creationId="{FD7B0AE6-4A62-477C-B4D7-AEB2B04F8551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793778490" sldId="295"/>
            <ac:spMk id="4" creationId="{29CF4D06-231C-454C-8EF8-893E46D20992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793778490" sldId="295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793778490" sldId="295"/>
            <ac:spMk id="10" creationId="{35D8A794-08C8-41DE-8871-983471582F24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178002913" sldId="296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178002913" sldId="296"/>
            <ac:spMk id="3" creationId="{82BF8EEC-6429-4322-8A93-1955B456080D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178002913" sldId="296"/>
            <ac:spMk id="4" creationId="{E8E9CE54-4496-4FD1-A787-0E004D399AA5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178002913" sldId="296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178002913" sldId="296"/>
            <ac:spMk id="6" creationId="{7532F21E-7623-4E22-8BEF-70EBDCB43E4F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283517966" sldId="298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283517966" sldId="298"/>
            <ac:spMk id="3" creationId="{71784555-ACA8-44D5-B2F2-96E7346EB7A9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283517966" sldId="298"/>
            <ac:spMk id="4" creationId="{5387F03D-D1C6-4D7D-872D-4238B33B1792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283517966" sldId="298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283517966" sldId="298"/>
            <ac:spMk id="6" creationId="{3038BB6E-9359-41D4-99EF-77CFB081BD12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339642416" sldId="299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339642416" sldId="299"/>
            <ac:spMk id="3" creationId="{F4CC7F9E-CD1A-4534-B6F8-138D37228317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339642416" sldId="299"/>
            <ac:spMk id="4" creationId="{01C22D24-4A36-4B78-AAE4-924D692AEE27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339642416" sldId="299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339642416" sldId="299"/>
            <ac:spMk id="6" creationId="{C9C40096-E212-421B-9734-79FE026630B3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2017790741" sldId="300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017790741" sldId="300"/>
            <ac:spMk id="3" creationId="{0968A151-5513-4AC0-B55D-900E2AAF341D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017790741" sldId="300"/>
            <ac:spMk id="4" creationId="{1F670A6D-A236-49F9-B8B7-23257D1F3251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2017790741" sldId="300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2017790741" sldId="300"/>
            <ac:spMk id="6" creationId="{BC780FC3-57E4-48D2-BC7A-2DACE44EAED1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1200639827" sldId="301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200639827" sldId="301"/>
            <ac:spMk id="3" creationId="{EAB38774-C192-4D77-9350-E533653E5751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200639827" sldId="301"/>
            <ac:spMk id="4" creationId="{816FE7B8-83B5-4A8B-9605-DAA91B11DA0B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1200639827" sldId="301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1200639827" sldId="301"/>
            <ac:spMk id="6" creationId="{6B2003B5-721F-4ED7-9C05-48EB41445668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861466284" sldId="302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861466284" sldId="302"/>
            <ac:spMk id="3" creationId="{560EDD7B-6A8B-40F3-B935-50371FB888AC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861466284" sldId="302"/>
            <ac:spMk id="4" creationId="{5C4D93CB-A8F4-4D59-A976-496B27B99FA8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861466284" sldId="302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861466284" sldId="302"/>
            <ac:spMk id="6" creationId="{67843F7D-8331-482B-B53D-D42473612829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926047802" sldId="303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926047802" sldId="303"/>
            <ac:spMk id="3" creationId="{1908F3AB-3A9D-42B6-A0BC-450F26F11376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926047802" sldId="303"/>
            <ac:spMk id="4" creationId="{6873F5E4-0A50-4656-A81F-1060B80249AA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926047802" sldId="303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926047802" sldId="303"/>
            <ac:spMk id="10" creationId="{ABC2EBFF-60B0-4453-99C7-5E5FCE4E64A9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933917220" sldId="304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933917220" sldId="304"/>
            <ac:spMk id="3" creationId="{BF15E19C-7A5A-46AB-A433-4D1BBC7AF5F3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933917220" sldId="304"/>
            <ac:spMk id="4" creationId="{63C54AFD-3E25-4A6B-96DD-79085351E96E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933917220" sldId="304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933917220" sldId="304"/>
            <ac:spMk id="6" creationId="{4CCC9478-6BB8-4C79-BD33-AB0FD8A918E7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395236631" sldId="305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395236631" sldId="305"/>
            <ac:spMk id="3" creationId="{5E4C474C-481E-4505-9D43-7C83BE77E252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395236631" sldId="305"/>
            <ac:spMk id="4" creationId="{31A04089-7F23-4D43-9DB2-9B1511BEA9B2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395236631" sldId="305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395236631" sldId="305"/>
            <ac:spMk id="8" creationId="{C2781AED-EBF9-4994-9D1F-3A874FFA8191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530554265" sldId="306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530554265" sldId="306"/>
            <ac:spMk id="3" creationId="{7189391B-B392-47F0-8738-7AE36CD0673F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530554265" sldId="306"/>
            <ac:spMk id="4" creationId="{514D944C-E440-4A46-82D5-01A3C66ED33C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530554265" sldId="306"/>
            <ac:spMk id="5" creationId="{848CC61A-931C-ED46-AE2D-8670254B7CAF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530554265" sldId="306"/>
            <ac:spMk id="6" creationId="{F0D791BC-18B3-479F-831A-E4F67CC1AEA0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2763826054" sldId="307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763826054" sldId="307"/>
            <ac:spMk id="3" creationId="{AD87E836-AA7C-4F59-B640-86E3B721DF17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763826054" sldId="307"/>
            <ac:spMk id="4" creationId="{38C1BCEE-0A06-457F-BDD4-D6CF52BFD78C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2763826054" sldId="307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2763826054" sldId="307"/>
            <ac:spMk id="6" creationId="{4F3B306E-66A0-47B3-8DF1-FF7BE418CA10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233704736" sldId="308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233704736" sldId="308"/>
            <ac:spMk id="3" creationId="{6781F0CB-7937-4B12-A43F-D313F3249CF8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233704736" sldId="308"/>
            <ac:spMk id="4" creationId="{60D99A92-6096-4457-8B4E-2FBA7443E4C8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233704736" sldId="308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233704736" sldId="308"/>
            <ac:spMk id="6" creationId="{22441DAD-7206-47DF-8F0F-A6123E40B728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2023954067" sldId="309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023954067" sldId="309"/>
            <ac:spMk id="3" creationId="{7C09BDE4-8F68-4A00-9BE6-7249E24B96CD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023954067" sldId="309"/>
            <ac:spMk id="4" creationId="{10913FDC-D9FD-44AA-B3B6-968CDCC35970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2023954067" sldId="309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2023954067" sldId="309"/>
            <ac:spMk id="6" creationId="{904C17AE-F05A-4491-A151-636A81DACD70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140862157" sldId="311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140862157" sldId="311"/>
            <ac:spMk id="4" creationId="{7DBF2CC1-EFB7-4CD4-A2E9-F4F1A8823AE3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140862157" sldId="311"/>
            <ac:spMk id="5" creationId="{BE2E825D-47BC-0A4A-9693-11FE6747DC3E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140862157" sldId="311"/>
            <ac:spMk id="6" creationId="{B00A5459-4993-49AE-B76B-07C9E69A2A67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140862157" sldId="311"/>
            <ac:spMk id="7" creationId="{02341FB6-0DB1-49CD-8F98-3A34BCB7112F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86681203" sldId="312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86681203" sldId="312"/>
            <ac:spMk id="4" creationId="{EC7ED200-F29A-45D4-875C-D6A12EF65F39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86681203" sldId="312"/>
            <ac:spMk id="5" creationId="{BE2E825D-47BC-0A4A-9693-11FE6747DC3E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86681203" sldId="312"/>
            <ac:spMk id="6" creationId="{B369F76F-3A10-40FC-8891-A08D0BF84F2E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86681203" sldId="312"/>
            <ac:spMk id="7" creationId="{F8D9A4F5-8A09-4F23-81D7-5AC162F1243F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2440085736" sldId="313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440085736" sldId="313"/>
            <ac:spMk id="3" creationId="{995D3C38-B559-43C2-930A-876A8652AD67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440085736" sldId="313"/>
            <ac:spMk id="4" creationId="{2655FD71-E497-421C-A9F2-C4B282957519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2440085736" sldId="313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2440085736" sldId="313"/>
            <ac:spMk id="6" creationId="{54C740FD-E8CC-4704-92C3-DCF603758531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2561012292" sldId="314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561012292" sldId="314"/>
            <ac:spMk id="3" creationId="{BAA9C76C-56D9-42BA-B15F-7FE71CA233D6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561012292" sldId="314"/>
            <ac:spMk id="4" creationId="{04063D03-05A3-433E-9C6B-EF570EB7CD24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2561012292" sldId="314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2561012292" sldId="314"/>
            <ac:spMk id="6" creationId="{15CCDD3C-A42E-451D-8EB3-FBD59B62D836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1780522131" sldId="316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780522131" sldId="316"/>
            <ac:spMk id="4" creationId="{61DC72CB-9D36-4EB5-A922-0D1BF1A414C9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1780522131" sldId="316"/>
            <ac:spMk id="5" creationId="{02315522-F74C-4F66-AB6E-F6A38E077DE7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780522131" sldId="316"/>
            <ac:spMk id="6" creationId="{EC13E530-CED4-4C29-9CEE-50D65E6C387B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1780522131" sldId="316"/>
            <ac:spMk id="7" creationId="{9B10740A-3943-4DE6-BF10-D18F97AE8623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1714892408" sldId="317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714892408" sldId="317"/>
            <ac:spMk id="3" creationId="{D3C05464-FF26-4785-BA30-A4254E4BB849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714892408" sldId="317"/>
            <ac:spMk id="4" creationId="{4CA4EC35-D8DD-428C-9ABE-6BF7A796926D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1714892408" sldId="317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1714892408" sldId="317"/>
            <ac:spMk id="7" creationId="{0DFC93CF-0972-4B42-BD40-0E9EC87C706F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710596042" sldId="318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710596042" sldId="318"/>
            <ac:spMk id="4" creationId="{B16D0B43-15D2-40EB-B16E-50604BEA01A0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710596042" sldId="318"/>
            <ac:spMk id="5" creationId="{555604FE-141D-6645-AB98-E5D4D3C90856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710596042" sldId="318"/>
            <ac:spMk id="6" creationId="{C61FDCF4-F974-4B6F-B5EF-AD8C38EDC5B5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710596042" sldId="318"/>
            <ac:spMk id="7" creationId="{D1541A09-8732-4FE4-BADF-A2F0069C570E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774777105" sldId="319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774777105" sldId="319"/>
            <ac:spMk id="3" creationId="{688FA9F2-DDDB-41C8-9B41-44BE9EA441E6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774777105" sldId="319"/>
            <ac:spMk id="4" creationId="{D314E5E0-A30A-4C7B-B915-32881ADD52C7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774777105" sldId="319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774777105" sldId="319"/>
            <ac:spMk id="7" creationId="{4DDCEF50-F504-4A1F-89F4-678AB8C1C55A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1800250114" sldId="320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800250114" sldId="320"/>
            <ac:spMk id="4" creationId="{36CF955D-59D0-4659-9B76-59B37C9CCF02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1800250114" sldId="320"/>
            <ac:spMk id="5" creationId="{555604FE-141D-6645-AB98-E5D4D3C90856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800250114" sldId="320"/>
            <ac:spMk id="6" creationId="{5BDEF754-A96B-4030-879B-32855CAD8F44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1800250114" sldId="320"/>
            <ac:spMk id="8" creationId="{6718A924-334A-4A42-804D-60571A8C1755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081064406" sldId="321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081064406" sldId="321"/>
            <ac:spMk id="3" creationId="{4D8A333D-EE73-4C46-A122-2E4439227905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081064406" sldId="321"/>
            <ac:spMk id="4" creationId="{25C66FE8-FCA1-47BB-91EA-C4394D1E9296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081064406" sldId="321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081064406" sldId="321"/>
            <ac:spMk id="7" creationId="{9EAD4AC2-40C1-4CCA-9917-F01F58831BA2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417170624" sldId="322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417170624" sldId="322"/>
            <ac:spMk id="3" creationId="{6A6681BE-28CC-423C-949C-6CE92C512331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417170624" sldId="322"/>
            <ac:spMk id="4" creationId="{E63E1D39-6308-41D2-AD89-A19203ACB04A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417170624" sldId="322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417170624" sldId="322"/>
            <ac:spMk id="7" creationId="{B009725C-0498-47FB-8B01-9EDC109C67E8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924304825" sldId="323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924304825" sldId="323"/>
            <ac:spMk id="4" creationId="{76694EB2-0A9D-4988-8E32-48E71CFEEAC1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924304825" sldId="323"/>
            <ac:spMk id="5" creationId="{555604FE-141D-6645-AB98-E5D4D3C90856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924304825" sldId="323"/>
            <ac:spMk id="6" creationId="{831B17D8-E262-4FF6-BE23-A156E1AE939B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924304825" sldId="323"/>
            <ac:spMk id="8" creationId="{54AB69B0-F50B-43E0-8405-A6B65E67341F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712796959" sldId="324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712796959" sldId="324"/>
            <ac:spMk id="3" creationId="{06B64D45-0161-4CAF-B1CE-32891AB8B669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712796959" sldId="324"/>
            <ac:spMk id="4" creationId="{FD6AE0D6-54D5-4B8D-B7DF-B576F0FDD174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712796959" sldId="324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712796959" sldId="324"/>
            <ac:spMk id="7" creationId="{A067C6C1-7637-4695-98EB-AE9D92D01011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1401364146" sldId="328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401364146" sldId="328"/>
            <ac:spMk id="3" creationId="{86D18283-47E8-4D9B-81AA-5192589861B3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401364146" sldId="328"/>
            <ac:spMk id="4" creationId="{C72F0588-FA95-4B16-B090-95CB0159B007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1401364146" sldId="328"/>
            <ac:spMk id="5" creationId="{E47E27AB-E1A4-F140-B6EB-11F679417487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1401364146" sldId="328"/>
            <ac:spMk id="8" creationId="{5A21FA67-078F-4C18-AC5F-A51E5350314D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384531833" sldId="329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384531833" sldId="329"/>
            <ac:spMk id="4" creationId="{12AF8950-A342-4DB4-B912-8D9F61FDBFDC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384531833" sldId="329"/>
            <ac:spMk id="5" creationId="{555604FE-141D-6645-AB98-E5D4D3C90856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384531833" sldId="329"/>
            <ac:spMk id="6" creationId="{8AA1FF0D-8FA8-4AC2-9E2D-20688B7C5528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384531833" sldId="329"/>
            <ac:spMk id="8" creationId="{315AA01B-6AAD-4D4B-B471-EDEC6E6A2714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586762857" sldId="330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586762857" sldId="330"/>
            <ac:spMk id="3" creationId="{93CA833A-C9BE-4EAE-AA08-EA960801463F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586762857" sldId="330"/>
            <ac:spMk id="4" creationId="{4F588868-A359-4CF7-BB76-FB3AFCDAEA2D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586762857" sldId="330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586762857" sldId="330"/>
            <ac:spMk id="7" creationId="{0B818579-84F0-4DB7-8939-EF45014D7DBA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175117747" sldId="331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175117747" sldId="331"/>
            <ac:spMk id="4" creationId="{133F8E9F-3979-4EC2-8E5F-F822352E09BC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175117747" sldId="331"/>
            <ac:spMk id="5" creationId="{555604FE-141D-6645-AB98-E5D4D3C90856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175117747" sldId="331"/>
            <ac:spMk id="6" creationId="{60682626-E433-4C6F-95A3-EDCEFC20FC3F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175117747" sldId="331"/>
            <ac:spMk id="8" creationId="{9488F5F1-086F-419F-B852-F373FC87BC56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1340371423" sldId="332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340371423" sldId="332"/>
            <ac:spMk id="3" creationId="{A26F1C80-334A-45E5-B5BF-D840F1D23E1E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340371423" sldId="332"/>
            <ac:spMk id="4" creationId="{7FE9268C-690A-49B5-A9C4-2448CFD4FAFB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1340371423" sldId="332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1340371423" sldId="332"/>
            <ac:spMk id="7" creationId="{D2EEDE2A-060B-45CC-B5CB-D403935F9BCF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205362079" sldId="333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05362079" sldId="333"/>
            <ac:spMk id="4" creationId="{4E695C89-947D-4537-8D31-6FB809216337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205362079" sldId="333"/>
            <ac:spMk id="5" creationId="{555604FE-141D-6645-AB98-E5D4D3C90856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05362079" sldId="333"/>
            <ac:spMk id="6" creationId="{46EABDC6-423A-4C28-A69F-62AFD42643C1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205362079" sldId="333"/>
            <ac:spMk id="8" creationId="{29DECBD6-FBF5-4BBC-81D6-1C17EB666C1E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801842481" sldId="334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801842481" sldId="334"/>
            <ac:spMk id="3" creationId="{2B162842-0E2F-44B7-8846-9B9E907E0639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801842481" sldId="334"/>
            <ac:spMk id="4" creationId="{531F0006-C1F1-44A8-8BF3-AF25B1733C08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801842481" sldId="334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801842481" sldId="334"/>
            <ac:spMk id="7" creationId="{0FA19D0A-F2E4-4B89-A04A-2162049A4A9E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1157339580" sldId="336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157339580" sldId="336"/>
            <ac:spMk id="3" creationId="{75FC5822-C708-475B-AFE9-2DDCB7206BEC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157339580" sldId="336"/>
            <ac:spMk id="4" creationId="{9AEF43C1-0340-4AD0-A9EC-25B3C3BFE31C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1157339580" sldId="336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1157339580" sldId="336"/>
            <ac:spMk id="7" creationId="{DAFDDF76-C8E4-45B2-AE7E-DD49659FCF8E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2592558059" sldId="337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592558059" sldId="337"/>
            <ac:spMk id="4" creationId="{FA0FB9AF-354D-4628-91E1-4516EE6A961C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2592558059" sldId="337"/>
            <ac:spMk id="5" creationId="{555604FE-141D-6645-AB98-E5D4D3C90856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592558059" sldId="337"/>
            <ac:spMk id="6" creationId="{4794AC75-226C-425B-BB0C-41AC0B6BBD3A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2592558059" sldId="337"/>
            <ac:spMk id="8" creationId="{5EAA20CA-0CEB-48CE-8098-974E9156E370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4007988906" sldId="338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4007988906" sldId="338"/>
            <ac:spMk id="3" creationId="{733741E7-54CD-4BAD-8417-132633BC883F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4007988906" sldId="338"/>
            <ac:spMk id="4" creationId="{B71F1666-05C1-4327-9698-A5CB7D491810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4007988906" sldId="338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4007988906" sldId="338"/>
            <ac:spMk id="7" creationId="{F4501216-2C12-41B9-AC79-F6F21E4EE570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1211257722" sldId="339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211257722" sldId="339"/>
            <ac:spMk id="4" creationId="{49C86821-486F-4DEF-A7C2-2C00E672C3EF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1211257722" sldId="339"/>
            <ac:spMk id="5" creationId="{555604FE-141D-6645-AB98-E5D4D3C90856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211257722" sldId="339"/>
            <ac:spMk id="6" creationId="{46C1C212-9D50-4E61-82EB-248855BD6FC2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1211257722" sldId="339"/>
            <ac:spMk id="8" creationId="{D2C78BE3-2A47-4844-BCB5-7FA9E877D93E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2869113427" sldId="340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869113427" sldId="340"/>
            <ac:spMk id="4" creationId="{915D4168-6095-4EAD-BAC0-C61F088BD5C5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2869113427" sldId="340"/>
            <ac:spMk id="5" creationId="{555604FE-141D-6645-AB98-E5D4D3C90856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869113427" sldId="340"/>
            <ac:spMk id="7" creationId="{39519D0F-55D1-4CFA-A5AF-3BFE834B69DE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2869113427" sldId="340"/>
            <ac:spMk id="9" creationId="{6AF77450-E8EE-48C0-80C3-49896CA7B0B4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4032969113" sldId="341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4032969113" sldId="341"/>
            <ac:spMk id="3" creationId="{6CAF1159-E487-4F7E-A54E-108321611DF1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4032969113" sldId="341"/>
            <ac:spMk id="4" creationId="{58CD666B-7B32-4AA0-BA14-1A04A8D253B2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4032969113" sldId="341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4032969113" sldId="341"/>
            <ac:spMk id="6" creationId="{02819493-3D7A-4B19-931C-0A68F16D7BD1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2976533686" sldId="342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976533686" sldId="342"/>
            <ac:spMk id="3" creationId="{DEE0D8CC-CBB5-4D67-9EB2-BB588049AB2E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976533686" sldId="342"/>
            <ac:spMk id="4" creationId="{32ED8C6E-3C07-469B-98D4-AC6D8BCCB2CD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2976533686" sldId="342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2976533686" sldId="342"/>
            <ac:spMk id="6" creationId="{FDF1B067-4D20-44B7-9D3F-B9338A0D536B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354946574" sldId="343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354946574" sldId="343"/>
            <ac:spMk id="3" creationId="{5A3CBDD8-65DD-49D9-8D7F-462B68C99AA0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354946574" sldId="343"/>
            <ac:spMk id="4" creationId="{AAA505F4-214E-4BAE-A0DE-03CF1BF931F8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354946574" sldId="343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354946574" sldId="343"/>
            <ac:spMk id="6" creationId="{E34033EB-75F6-4A4F-9F0A-AD4E8FC4230F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2553378438" sldId="344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553378438" sldId="344"/>
            <ac:spMk id="3" creationId="{C1AF4FB0-24FA-43F7-A71F-4543160660A9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553378438" sldId="344"/>
            <ac:spMk id="4" creationId="{BADFCC86-9B37-4FE5-85C5-A2638C54794F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2553378438" sldId="344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2553378438" sldId="344"/>
            <ac:spMk id="7" creationId="{0A15FA8B-0200-4804-BEB0-08EE90A18322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2358782502" sldId="345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358782502" sldId="345"/>
            <ac:spMk id="4" creationId="{B718580D-E473-4C4B-B135-7A03BDE8216F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2358782502" sldId="345"/>
            <ac:spMk id="5" creationId="{555604FE-141D-6645-AB98-E5D4D3C90856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358782502" sldId="345"/>
            <ac:spMk id="6" creationId="{4C30940D-0F9A-4247-8C5F-03C868F2E9FC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2358782502" sldId="345"/>
            <ac:spMk id="9" creationId="{1BE46C21-8B26-465E-9D53-E794843DFE57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1411732116" sldId="346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411732116" sldId="346"/>
            <ac:spMk id="3" creationId="{6CB312CB-2E3B-4AB4-8759-39DC3CE705CC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411732116" sldId="346"/>
            <ac:spMk id="4" creationId="{FBD7F8A9-F5B1-4FE4-A551-5D38273405A2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1411732116" sldId="346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1411732116" sldId="346"/>
            <ac:spMk id="7" creationId="{2499F354-1AB7-486A-9FE9-533ADA553FBD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2894643259" sldId="348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894643259" sldId="348"/>
            <ac:spMk id="4" creationId="{82135299-6CC3-417F-B952-6AA77E30CC26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2894643259" sldId="348"/>
            <ac:spMk id="5" creationId="{555604FE-141D-6645-AB98-E5D4D3C90856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894643259" sldId="348"/>
            <ac:spMk id="7" creationId="{C46C7FB0-EC52-4B27-98DA-B71A6C1BA972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2894643259" sldId="348"/>
            <ac:spMk id="9" creationId="{164F32E1-C0BA-4358-8932-040AD3B4F767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674571283" sldId="349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674571283" sldId="349"/>
            <ac:spMk id="3" creationId="{180EEEE4-60A4-4B23-AEDF-E8EC8CE4D394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674571283" sldId="349"/>
            <ac:spMk id="4" creationId="{55728BDF-F588-47B4-86A6-0D6D603670C5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674571283" sldId="349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674571283" sldId="349"/>
            <ac:spMk id="6" creationId="{DBB56B88-91D3-4520-8718-76029AA66F67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1982333163" sldId="350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982333163" sldId="350"/>
            <ac:spMk id="3" creationId="{C36877DC-CAF0-4CCA-A1F4-92CD95A0D956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982333163" sldId="350"/>
            <ac:spMk id="4" creationId="{9982CC8D-E6D1-4017-B95D-3B1A52D8F11A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1982333163" sldId="350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1982333163" sldId="350"/>
            <ac:spMk id="6" creationId="{BA61A8D8-2C1A-44EC-8CCB-D8578232E8F0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716336217" sldId="351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716336217" sldId="351"/>
            <ac:spMk id="4" creationId="{B948E110-CFE2-44DE-8DC7-6CD65C2B93BB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716336217" sldId="351"/>
            <ac:spMk id="5" creationId="{555604FE-141D-6645-AB98-E5D4D3C90856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716336217" sldId="351"/>
            <ac:spMk id="6" creationId="{96965CD5-81DC-4B1E-B37D-43BAC065F13B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716336217" sldId="351"/>
            <ac:spMk id="9" creationId="{DAF875C3-CEA8-4256-BC3D-E72E04223468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178818183" sldId="352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78818183" sldId="352"/>
            <ac:spMk id="4" creationId="{EBECFA64-6675-4ACE-9F3E-8F0083D3F345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178818183" sldId="352"/>
            <ac:spMk id="5" creationId="{555604FE-141D-6645-AB98-E5D4D3C90856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78818183" sldId="352"/>
            <ac:spMk id="7" creationId="{A0ABF06F-80DE-4E05-B91D-5C49B6890EF5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178818183" sldId="352"/>
            <ac:spMk id="9" creationId="{7370ADF5-A5F6-481D-BE86-0AE1624362D1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1568504011" sldId="353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568504011" sldId="353"/>
            <ac:spMk id="3" creationId="{265CF6DD-7D59-493A-BC88-DC7D36604D00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568504011" sldId="353"/>
            <ac:spMk id="4" creationId="{9187423A-D926-4CC6-B217-D30916D2621C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1568504011" sldId="353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1568504011" sldId="353"/>
            <ac:spMk id="7" creationId="{030337D2-962A-462C-BFEE-0BD094A2C46E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1119758586" sldId="354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119758586" sldId="354"/>
            <ac:spMk id="3" creationId="{0C2E9D40-DD1C-4381-970F-C59F03E49BB4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119758586" sldId="354"/>
            <ac:spMk id="4" creationId="{29A094BE-2D56-44FF-B854-33BB9FAF3639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1119758586" sldId="354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1119758586" sldId="354"/>
            <ac:spMk id="7" creationId="{4CD3F493-FE62-4294-8C8D-F146BE16C7E8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906402260" sldId="355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906402260" sldId="355"/>
            <ac:spMk id="4" creationId="{498C38D8-F7B9-4197-AE79-826D5C44D5B1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906402260" sldId="355"/>
            <ac:spMk id="5" creationId="{F6EDEF77-D2E9-F242-9CBC-4B2120B54E9D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906402260" sldId="355"/>
            <ac:spMk id="8" creationId="{23357CF5-FBF4-4BFC-A4BA-AEC706686D1B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906402260" sldId="355"/>
            <ac:spMk id="9" creationId="{3E6EB188-B946-44EE-BD71-E7B8F15C5E6E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788053049" sldId="356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788053049" sldId="356"/>
            <ac:spMk id="3" creationId="{D7A0D850-FC80-47B6-9C6E-CC07FB46F92C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788053049" sldId="356"/>
            <ac:spMk id="4" creationId="{3852E01C-9E41-4108-B979-F19A017F58C6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788053049" sldId="356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788053049" sldId="356"/>
            <ac:spMk id="10" creationId="{5662105C-C71E-400E-9804-E31ED44322BA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230501836" sldId="357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230501836" sldId="357"/>
            <ac:spMk id="3" creationId="{7CA601BF-FFF8-4013-9BB7-307ECFC2938E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230501836" sldId="357"/>
            <ac:spMk id="4" creationId="{BC69E712-6CEC-413C-9B63-7015EE63C224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230501836" sldId="357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230501836" sldId="357"/>
            <ac:spMk id="6" creationId="{F64D0C1B-0505-42EB-83A2-5CBF1021F490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425921230" sldId="361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425921230" sldId="361"/>
            <ac:spMk id="4" creationId="{3A2574C4-B325-441F-BAF9-9EEB1A20A444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425921230" sldId="361"/>
            <ac:spMk id="5" creationId="{66F02C85-C640-4FA7-9E2E-BA24577BC52C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425921230" sldId="361"/>
            <ac:spMk id="6" creationId="{6EF93B46-E714-44D2-A614-8D0EC07D7CBE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425921230" sldId="361"/>
            <ac:spMk id="8" creationId="{EE810A10-C0FB-40DB-8475-7545B162AD5E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5:10.723" v="101" actId="20577"/>
        <pc:sldMkLst>
          <pc:docMk/>
          <pc:sldMk cId="53829710" sldId="362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53829710" sldId="362"/>
            <ac:spMk id="3" creationId="{1461DA50-16E3-4630-867A-A79D6C29CB4F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53829710" sldId="362"/>
            <ac:spMk id="4" creationId="{297A06B5-9C8C-4ED2-A045-E3F85C6B3ED6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5:10.723" v="101" actId="20577"/>
          <ac:spMkLst>
            <pc:docMk/>
            <pc:sldMk cId="53829710" sldId="362"/>
            <ac:spMk id="5" creationId="{258DFF39-05D4-4903-92F4-2E6F3B75151F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1.737" v="98"/>
          <ac:spMkLst>
            <pc:docMk/>
            <pc:sldMk cId="53829710" sldId="362"/>
            <ac:spMk id="7" creationId="{A4334B25-3D10-4502-B9D3-3F2EF1463428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2248430675" sldId="363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248430675" sldId="363"/>
            <ac:spMk id="2" creationId="{C19E0C81-C698-4EF4-BE05-C3226DCAB171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248430675" sldId="363"/>
            <ac:spMk id="4" creationId="{A1C2E1F5-A1DA-4497-86A6-EE71A4177DF3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2248430675" sldId="363"/>
            <ac:spMk id="5" creationId="{231CF525-C19A-42BE-B43D-7D6FDC3E6321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2248430675" sldId="363"/>
            <ac:spMk id="6" creationId="{51A67098-8165-48C0-9BB7-D6B305E6A1E8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441046725" sldId="364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441046725" sldId="364"/>
            <ac:spMk id="3" creationId="{46C2D5D2-71B5-4E9B-ACCF-B893127D6EBD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441046725" sldId="364"/>
            <ac:spMk id="4" creationId="{015D7EBF-77E2-45E8-8AC9-1752A3DA8A63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441046725" sldId="364"/>
            <ac:spMk id="5" creationId="{E09A7154-CA42-4B90-B623-4BB1E089C01F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441046725" sldId="364"/>
            <ac:spMk id="8" creationId="{3A502DD5-B0A3-452B-902E-9E82DD22783B}"/>
          </ac:spMkLst>
        </pc:spChg>
      </pc:sldChg>
      <pc:sldMasterChg chg="modSp mod modSldLayout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asterMkLst>
          <pc:docMk/>
          <pc:sldMasterMk cId="0" sldId="2147485197"/>
        </pc:sldMasterMkLst>
        <pc:spChg chg="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asterMk cId="0" sldId="2147485197"/>
            <ac:spMk id="3" creationId="{86ADA595-92A9-4B98-AA7B-ECE1B6F95693}"/>
          </ac:spMkLst>
        </pc:spChg>
        <pc:sldLayoutChg chg="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0" sldId="2147485197"/>
            <pc:sldLayoutMk cId="704198180" sldId="2147485432"/>
          </pc:sldLayoutMkLst>
        </pc:sldLayoutChg>
        <pc:sldLayoutChg chg="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0" sldId="2147485197"/>
            <pc:sldLayoutMk cId="2877979419" sldId="2147485433"/>
          </pc:sldLayoutMkLst>
        </pc:sldLayoutChg>
        <pc:sldLayoutChg chg="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0" sldId="2147485197"/>
            <pc:sldLayoutMk cId="2702998540" sldId="2147485434"/>
          </pc:sldLayoutMkLst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0" sldId="2147485197"/>
            <pc:sldLayoutMk cId="1937485406" sldId="2147485456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0" sldId="2147485197"/>
              <pc:sldLayoutMk cId="1937485406" sldId="2147485456"/>
              <ac:spMk id="6" creationId="{DDFE140B-D48C-4542-AB7E-EC12FA7CAB7D}"/>
            </ac:spMkLst>
          </pc:spChg>
        </pc:sldLayoutChg>
      </pc:sldMasterChg>
      <pc:sldMasterChg chg="modSp mod modSldLayout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asterMkLst>
          <pc:docMk/>
          <pc:sldMasterMk cId="0" sldId="2147485265"/>
        </pc:sldMasterMkLst>
        <pc:spChg chg="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asterMk cId="0" sldId="2147485265"/>
            <ac:spMk id="5" creationId="{4405C56D-F3D2-4AAD-A017-DBDF3BC17356}"/>
          </ac:spMkLst>
        </pc:sp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0" sldId="2147485265"/>
            <pc:sldLayoutMk cId="1846503039" sldId="2147485420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0" sldId="2147485265"/>
              <pc:sldLayoutMk cId="1846503039" sldId="2147485420"/>
              <ac:spMk id="6" creationId="{984DFDCA-9867-4B8A-9CB2-D78573D888AD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0" sldId="2147485265"/>
            <pc:sldLayoutMk cId="67355973" sldId="2147485421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0" sldId="2147485265"/>
              <pc:sldLayoutMk cId="67355973" sldId="2147485421"/>
              <ac:spMk id="6" creationId="{3D9889DC-4C1A-4EC5-84CA-0E6268F37C0A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0" sldId="2147485265"/>
            <pc:sldLayoutMk cId="1541776082" sldId="2147485422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0" sldId="2147485265"/>
              <pc:sldLayoutMk cId="1541776082" sldId="2147485422"/>
              <ac:spMk id="8" creationId="{C799810D-A837-4AEC-935D-E505E0427551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0" sldId="2147485265"/>
            <pc:sldLayoutMk cId="4243939519" sldId="2147485423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0" sldId="2147485265"/>
              <pc:sldLayoutMk cId="4243939519" sldId="2147485423"/>
              <ac:spMk id="10" creationId="{09F90E78-01B3-44E9-9A94-4DA1C337A75B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0" sldId="2147485265"/>
            <pc:sldLayoutMk cId="1866643189" sldId="2147485424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0" sldId="2147485265"/>
              <pc:sldLayoutMk cId="1866643189" sldId="2147485424"/>
              <ac:spMk id="6" creationId="{E5E36981-7DC5-4CEE-BCA1-1C56F048A32A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0" sldId="2147485265"/>
            <pc:sldLayoutMk cId="143247085" sldId="2147485425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0" sldId="2147485265"/>
              <pc:sldLayoutMk cId="143247085" sldId="2147485425"/>
              <ac:spMk id="6" creationId="{1AC35530-917E-4D70-9EE0-23811959CDBC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0" sldId="2147485265"/>
            <pc:sldLayoutMk cId="1215802079" sldId="2147485426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0" sldId="2147485265"/>
              <pc:sldLayoutMk cId="1215802079" sldId="2147485426"/>
              <ac:spMk id="6" creationId="{01EC90E8-E6A1-4A45-921A-67BA2F740C3C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0" sldId="2147485265"/>
            <pc:sldLayoutMk cId="3677689056" sldId="2147485427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0" sldId="2147485265"/>
              <pc:sldLayoutMk cId="3677689056" sldId="2147485427"/>
              <ac:spMk id="6" creationId="{DDFE140B-D48C-4542-AB7E-EC12FA7CAB7D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0" sldId="2147485265"/>
            <pc:sldLayoutMk cId="3327675959" sldId="2147485428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0" sldId="2147485265"/>
              <pc:sldLayoutMk cId="3327675959" sldId="2147485428"/>
              <ac:spMk id="7" creationId="{B17A2802-7745-496B-8BC7-64A7D963FE3A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0" sldId="2147485265"/>
            <pc:sldLayoutMk cId="25771157" sldId="2147485429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0" sldId="2147485265"/>
              <pc:sldLayoutMk cId="25771157" sldId="2147485429"/>
              <ac:spMk id="7" creationId="{79C68D4E-49EC-46C4-B9D5-FC62F96D551E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0" sldId="2147485265"/>
            <pc:sldLayoutMk cId="2599829524" sldId="2147485430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0" sldId="2147485265"/>
              <pc:sldLayoutMk cId="2599829524" sldId="2147485430"/>
              <ac:spMk id="10" creationId="{CD77D376-7501-4564-AFC5-83059576ED82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0" sldId="2147485265"/>
            <pc:sldLayoutMk cId="3260782398" sldId="2147485431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0" sldId="2147485265"/>
              <pc:sldLayoutMk cId="3260782398" sldId="2147485431"/>
              <ac:spMk id="5" creationId="{EB64D53C-7535-4621-AFA7-7A0AA33DD89A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0" sldId="2147485265"/>
            <pc:sldLayoutMk cId="3008229247" sldId="2147485435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0" sldId="2147485265"/>
              <pc:sldLayoutMk cId="3008229247" sldId="2147485435"/>
              <ac:spMk id="5" creationId="{938B194C-EF5F-46CC-AD99-39125225F4F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0" sldId="2147485265"/>
            <pc:sldLayoutMk cId="1190349779" sldId="2147485436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0" sldId="2147485265"/>
              <pc:sldLayoutMk cId="1190349779" sldId="2147485436"/>
              <ac:spMk id="63" creationId="{D4808B09-2682-4A3C-8866-C8B474120D54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0" sldId="2147485265"/>
            <pc:sldLayoutMk cId="3948999294" sldId="2147485437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0" sldId="2147485265"/>
              <pc:sldLayoutMk cId="3948999294" sldId="2147485437"/>
              <ac:spMk id="8" creationId="{857364B4-1228-475B-ACF0-A988B9B68532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0" sldId="2147485265"/>
            <pc:sldLayoutMk cId="2945124825" sldId="2147485438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0" sldId="2147485265"/>
              <pc:sldLayoutMk cId="2945124825" sldId="2147485438"/>
              <ac:spMk id="131" creationId="{2F36408E-D97D-41AB-9217-63C225FBC9D3}"/>
            </ac:spMkLst>
          </pc:spChg>
        </pc:sldLayoutChg>
        <pc:sldLayoutChg chg="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0" sldId="2147485265"/>
            <pc:sldLayoutMk cId="3186141086" sldId="2147485439"/>
          </pc:sldLayoutMkLst>
        </pc:sldLayoutChg>
        <pc:sldLayoutChg chg="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0" sldId="2147485265"/>
            <pc:sldLayoutMk cId="3811448663" sldId="2147485440"/>
          </pc:sldLayoutMkLst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0" sldId="2147485265"/>
            <pc:sldLayoutMk cId="102200951" sldId="2147485522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0" sldId="2147485265"/>
              <pc:sldLayoutMk cId="102200951" sldId="2147485522"/>
              <ac:spMk id="5" creationId="{00000000-0000-0000-0000-000000000000}"/>
            </ac:spMkLst>
          </pc:spChg>
        </pc:sldLayoutChg>
      </pc:sldMasterChg>
      <pc:sldMasterChg chg="modSp mod modSldLayout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asterMkLst>
          <pc:docMk/>
          <pc:sldMasterMk cId="4236030168" sldId="2147485473"/>
        </pc:sldMasterMkLst>
        <pc:spChg chg="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asterMk cId="4236030168" sldId="2147485473"/>
            <ac:spMk id="5" creationId="{4405C56D-F3D2-4AAD-A017-DBDF3BC17356}"/>
          </ac:spMkLst>
        </pc:sp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4236030168" sldId="2147485473"/>
            <pc:sldLayoutMk cId="2800192375" sldId="2147485474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4236030168" sldId="2147485473"/>
              <pc:sldLayoutMk cId="2800192375" sldId="2147485474"/>
              <ac:spMk id="5" creationId="{938B194C-EF5F-46CC-AD99-39125225F4F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4236030168" sldId="2147485473"/>
            <pc:sldLayoutMk cId="521831333" sldId="2147485475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4236030168" sldId="2147485473"/>
              <pc:sldLayoutMk cId="521831333" sldId="2147485475"/>
              <ac:spMk id="63" creationId="{D4808B09-2682-4A3C-8866-C8B474120D54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4236030168" sldId="2147485473"/>
            <pc:sldLayoutMk cId="1054914800" sldId="2147485476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4236030168" sldId="2147485473"/>
              <pc:sldLayoutMk cId="1054914800" sldId="2147485476"/>
              <ac:spMk id="8" creationId="{857364B4-1228-475B-ACF0-A988B9B68532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4236030168" sldId="2147485473"/>
            <pc:sldLayoutMk cId="2390014269" sldId="2147485477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4236030168" sldId="2147485473"/>
              <pc:sldLayoutMk cId="2390014269" sldId="2147485477"/>
              <ac:spMk id="6" creationId="{984DFDCA-9867-4B8A-9CB2-D78573D888AD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4236030168" sldId="2147485473"/>
            <pc:sldLayoutMk cId="511043177" sldId="2147485478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4236030168" sldId="2147485473"/>
              <pc:sldLayoutMk cId="511043177" sldId="2147485478"/>
              <ac:spMk id="6" creationId="{3D9889DC-4C1A-4EC5-84CA-0E6268F37C0A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4236030168" sldId="2147485473"/>
            <pc:sldLayoutMk cId="3360800877" sldId="2147485479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4236030168" sldId="2147485473"/>
              <pc:sldLayoutMk cId="3360800877" sldId="2147485479"/>
              <ac:spMk id="8" creationId="{C799810D-A837-4AEC-935D-E505E0427551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4236030168" sldId="2147485473"/>
            <pc:sldLayoutMk cId="852068353" sldId="2147485480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4236030168" sldId="2147485473"/>
              <pc:sldLayoutMk cId="852068353" sldId="2147485480"/>
              <ac:spMk id="10" creationId="{09F90E78-01B3-44E9-9A94-4DA1C337A75B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4236030168" sldId="2147485473"/>
            <pc:sldLayoutMk cId="1093598170" sldId="2147485481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4236030168" sldId="2147485473"/>
              <pc:sldLayoutMk cId="1093598170" sldId="2147485481"/>
              <ac:spMk id="6" creationId="{E5E36981-7DC5-4CEE-BCA1-1C56F048A32A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4236030168" sldId="2147485473"/>
            <pc:sldLayoutMk cId="972359068" sldId="2147485482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4236030168" sldId="2147485473"/>
              <pc:sldLayoutMk cId="972359068" sldId="2147485482"/>
              <ac:spMk id="6" creationId="{1AC35530-917E-4D70-9EE0-23811959CDBC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4236030168" sldId="2147485473"/>
            <pc:sldLayoutMk cId="640306923" sldId="2147485483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4236030168" sldId="2147485473"/>
              <pc:sldLayoutMk cId="640306923" sldId="2147485483"/>
              <ac:spMk id="131" creationId="{2F36408E-D97D-41AB-9217-63C225FBC9D3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4236030168" sldId="2147485473"/>
            <pc:sldLayoutMk cId="563043116" sldId="2147485484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4236030168" sldId="2147485473"/>
              <pc:sldLayoutMk cId="563043116" sldId="2147485484"/>
              <ac:spMk id="6" creationId="{01EC90E8-E6A1-4A45-921A-67BA2F740C3C}"/>
            </ac:spMkLst>
          </pc:spChg>
        </pc:sldLayoutChg>
        <pc:sldLayoutChg chg="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4236030168" sldId="2147485473"/>
            <pc:sldLayoutMk cId="3698753849" sldId="2147485485"/>
          </pc:sldLayoutMkLst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4236030168" sldId="2147485473"/>
            <pc:sldLayoutMk cId="438850930" sldId="2147485486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4236030168" sldId="2147485473"/>
              <pc:sldLayoutMk cId="438850930" sldId="2147485486"/>
              <ac:spMk id="6" creationId="{DDFE140B-D48C-4542-AB7E-EC12FA7CAB7D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4236030168" sldId="2147485473"/>
            <pc:sldLayoutMk cId="2706606857" sldId="2147485487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4236030168" sldId="2147485473"/>
              <pc:sldLayoutMk cId="2706606857" sldId="2147485487"/>
              <ac:spMk id="7" creationId="{B17A2802-7745-496B-8BC7-64A7D963FE3A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4236030168" sldId="2147485473"/>
            <pc:sldLayoutMk cId="3917981392" sldId="2147485488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4236030168" sldId="2147485473"/>
              <pc:sldLayoutMk cId="3917981392" sldId="2147485488"/>
              <ac:spMk id="7" creationId="{79C68D4E-49EC-46C4-B9D5-FC62F96D551E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4236030168" sldId="2147485473"/>
            <pc:sldLayoutMk cId="519598226" sldId="2147485489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4236030168" sldId="2147485473"/>
              <pc:sldLayoutMk cId="519598226" sldId="2147485489"/>
              <ac:spMk id="10" creationId="{CD77D376-7501-4564-AFC5-83059576ED82}"/>
            </ac:spMkLst>
          </pc:spChg>
        </pc:sldLayoutChg>
        <pc:sldLayoutChg chg="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4236030168" sldId="2147485473"/>
            <pc:sldLayoutMk cId="2220625988" sldId="2147485490"/>
          </pc:sldLayoutMkLst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4236030168" sldId="2147485473"/>
            <pc:sldLayoutMk cId="3828316098" sldId="2147485491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4236030168" sldId="2147485473"/>
              <pc:sldLayoutMk cId="3828316098" sldId="2147485491"/>
              <ac:spMk id="5" creationId="{EB64D53C-7535-4621-AFA7-7A0AA33DD89A}"/>
            </ac:spMkLst>
          </pc:spChg>
        </pc:sldLayoutChg>
        <pc:sldLayoutChg chg="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4236030168" sldId="2147485473"/>
            <pc:sldLayoutMk cId="1255986698" sldId="2147485492"/>
          </pc:sldLayoutMkLst>
        </pc:sldLayoutChg>
        <pc:sldLayoutChg chg="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4236030168" sldId="2147485473"/>
            <pc:sldLayoutMk cId="877033691" sldId="2147485493"/>
          </pc:sldLayoutMkLst>
        </pc:sldLayoutChg>
        <pc:sldLayoutChg chg="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4236030168" sldId="2147485473"/>
            <pc:sldLayoutMk cId="3620978242" sldId="2147485523"/>
          </pc:sldLayoutMkLst>
        </pc:sldLayoutChg>
        <pc:sldLayoutChg chg="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4236030168" sldId="2147485473"/>
            <pc:sldLayoutMk cId="2542283950" sldId="2147485524"/>
          </pc:sldLayoutMkLst>
        </pc:sldLayoutChg>
      </pc:sldMasterChg>
      <pc:sldMasterChg chg="modSp mod modSldLayout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asterMkLst>
          <pc:docMk/>
          <pc:sldMasterMk cId="3915509286" sldId="2147485497"/>
        </pc:sldMasterMkLst>
        <pc:spChg chg="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asterMk cId="3915509286" sldId="2147485497"/>
            <ac:spMk id="3" creationId="{00000000-0000-0000-0000-000000000000}"/>
          </ac:spMkLst>
        </pc:spChg>
        <pc:sldLayoutChg chg="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3915509286" sldId="2147485497"/>
            <pc:sldLayoutMk cId="501497102" sldId="2147485498"/>
          </pc:sldLayoutMkLst>
        </pc:sldLayoutChg>
        <pc:sldLayoutChg chg="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3915509286" sldId="2147485497"/>
            <pc:sldLayoutMk cId="2137470043" sldId="2147485499"/>
          </pc:sldLayoutMkLst>
        </pc:sldLayoutChg>
        <pc:sldLayoutChg chg="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3915509286" sldId="2147485497"/>
            <pc:sldLayoutMk cId="1190218781" sldId="2147485500"/>
          </pc:sldLayoutMkLst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3915509286" sldId="2147485497"/>
            <pc:sldLayoutMk cId="1469744704" sldId="2147485502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3915509286" sldId="2147485497"/>
              <pc:sldLayoutMk cId="1469744704" sldId="2147485502"/>
              <ac:spMk id="5" creationId="{53839AA5-571F-4D76-B0CB-5D74C2020062}"/>
            </ac:spMkLst>
          </pc:spChg>
        </pc:sldLayoutChg>
      </pc:sldMasterChg>
    </pc:docChg>
  </pc:docChgLst>
  <pc:docChgLst>
    <pc:chgData name="Takaaki Masaki" userId="56a88eee-ec65-40f9-8642-be59fd24ba9b" providerId="ADAL" clId="{B854D024-8FF7-452B-B2F9-8E2041F90BBF}"/>
    <pc:docChg chg="undo redo custSel addSld delSld modSld sldOrd">
      <pc:chgData name="Takaaki Masaki" userId="56a88eee-ec65-40f9-8642-be59fd24ba9b" providerId="ADAL" clId="{B854D024-8FF7-452B-B2F9-8E2041F90BBF}" dt="2024-04-16T06:50:45.111" v="8214" actId="1076"/>
      <pc:docMkLst>
        <pc:docMk/>
      </pc:docMkLst>
      <pc:sldChg chg="modSp mod">
        <pc:chgData name="Takaaki Masaki" userId="56a88eee-ec65-40f9-8642-be59fd24ba9b" providerId="ADAL" clId="{B854D024-8FF7-452B-B2F9-8E2041F90BBF}" dt="2024-04-08T01:37:56.683" v="1481" actId="20577"/>
        <pc:sldMkLst>
          <pc:docMk/>
          <pc:sldMk cId="2539712035" sldId="256"/>
        </pc:sldMkLst>
        <pc:spChg chg="mod">
          <ac:chgData name="Takaaki Masaki" userId="56a88eee-ec65-40f9-8642-be59fd24ba9b" providerId="ADAL" clId="{B854D024-8FF7-452B-B2F9-8E2041F90BBF}" dt="2024-04-08T01:37:56.683" v="1481" actId="20577"/>
          <ac:spMkLst>
            <pc:docMk/>
            <pc:sldMk cId="2539712035" sldId="256"/>
            <ac:spMk id="2" creationId="{500B4985-5844-4EB1-9DE5-6177B9061EB1}"/>
          </ac:spMkLst>
        </pc:spChg>
        <pc:spChg chg="mod">
          <ac:chgData name="Takaaki Masaki" userId="56a88eee-ec65-40f9-8642-be59fd24ba9b" providerId="ADAL" clId="{B854D024-8FF7-452B-B2F9-8E2041F90BBF}" dt="2024-04-02T01:29:30.921" v="2"/>
          <ac:spMkLst>
            <pc:docMk/>
            <pc:sldMk cId="2539712035" sldId="256"/>
            <ac:spMk id="4" creationId="{D23673E8-12C1-4920-980E-880DA27CB9D6}"/>
          </ac:spMkLst>
        </pc:spChg>
      </pc:sldChg>
      <pc:sldChg chg="addSp delSp modSp del mod modClrScheme chgLayout">
        <pc:chgData name="Takaaki Masaki" userId="56a88eee-ec65-40f9-8642-be59fd24ba9b" providerId="ADAL" clId="{B854D024-8FF7-452B-B2F9-8E2041F90BBF}" dt="2024-04-16T01:13:56.342" v="5093" actId="47"/>
        <pc:sldMkLst>
          <pc:docMk/>
          <pc:sldMk cId="3352592262" sldId="257"/>
        </pc:sldMkLst>
        <pc:spChg chg="mod">
          <ac:chgData name="Takaaki Masaki" userId="56a88eee-ec65-40f9-8642-be59fd24ba9b" providerId="ADAL" clId="{B854D024-8FF7-452B-B2F9-8E2041F90BBF}" dt="2024-04-16T01:03:15.907" v="4831" actId="20577"/>
          <ac:spMkLst>
            <pc:docMk/>
            <pc:sldMk cId="3352592262" sldId="257"/>
            <ac:spMk id="2" creationId="{90D0FF2E-2620-4EB1-A986-02CA3AA912A8}"/>
          </ac:spMkLst>
        </pc:spChg>
        <pc:spChg chg="del mod">
          <ac:chgData name="Takaaki Masaki" userId="56a88eee-ec65-40f9-8642-be59fd24ba9b" providerId="ADAL" clId="{B854D024-8FF7-452B-B2F9-8E2041F90BBF}" dt="2024-04-16T01:03:12.841" v="4823" actId="478"/>
          <ac:spMkLst>
            <pc:docMk/>
            <pc:sldMk cId="3352592262" sldId="257"/>
            <ac:spMk id="3" creationId="{B894210C-9002-4DA4-9DD8-4CF05F405920}"/>
          </ac:spMkLst>
        </pc:spChg>
        <pc:spChg chg="mod">
          <ac:chgData name="Takaaki Masaki" userId="56a88eee-ec65-40f9-8642-be59fd24ba9b" providerId="ADAL" clId="{B854D024-8FF7-452B-B2F9-8E2041F90BBF}" dt="2024-04-08T01:38:16.946" v="1482" actId="26606"/>
          <ac:spMkLst>
            <pc:docMk/>
            <pc:sldMk cId="3352592262" sldId="257"/>
            <ac:spMk id="5" creationId="{02315522-F74C-4F66-AB6E-F6A38E077DE7}"/>
          </ac:spMkLst>
        </pc:spChg>
        <pc:spChg chg="add mod">
          <ac:chgData name="Takaaki Masaki" userId="56a88eee-ec65-40f9-8642-be59fd24ba9b" providerId="ADAL" clId="{B854D024-8FF7-452B-B2F9-8E2041F90BBF}" dt="2024-04-16T01:03:12.841" v="4823" actId="478"/>
          <ac:spMkLst>
            <pc:docMk/>
            <pc:sldMk cId="3352592262" sldId="257"/>
            <ac:spMk id="6" creationId="{D8225931-D0F2-2D66-8544-29315BFBE9E7}"/>
          </ac:spMkLst>
        </pc:spChg>
        <pc:spChg chg="mod">
          <ac:chgData name="Takaaki Masaki" userId="56a88eee-ec65-40f9-8642-be59fd24ba9b" providerId="ADAL" clId="{B854D024-8FF7-452B-B2F9-8E2041F90BBF}" dt="2024-04-11T01:41:03.562" v="2184" actId="20577"/>
          <ac:spMkLst>
            <pc:docMk/>
            <pc:sldMk cId="3352592262" sldId="257"/>
            <ac:spMk id="7" creationId="{6894D879-516E-4970-BF01-A5C807B4E9E3}"/>
          </ac:spMkLst>
        </pc:spChg>
      </pc:sldChg>
      <pc:sldChg chg="modSp mod">
        <pc:chgData name="Takaaki Masaki" userId="56a88eee-ec65-40f9-8642-be59fd24ba9b" providerId="ADAL" clId="{B854D024-8FF7-452B-B2F9-8E2041F90BBF}" dt="2024-04-02T01:54:34.016" v="109" actId="20577"/>
        <pc:sldMkLst>
          <pc:docMk/>
          <pc:sldMk cId="363020870" sldId="258"/>
        </pc:sldMkLst>
        <pc:spChg chg="mod">
          <ac:chgData name="Takaaki Masaki" userId="56a88eee-ec65-40f9-8642-be59fd24ba9b" providerId="ADAL" clId="{B854D024-8FF7-452B-B2F9-8E2041F90BBF}" dt="2024-04-02T01:54:34.016" v="109" actId="20577"/>
          <ac:spMkLst>
            <pc:docMk/>
            <pc:sldMk cId="363020870" sldId="258"/>
            <ac:spMk id="2" creationId="{E01226A3-FD12-4BA7-ABF5-9D408688073E}"/>
          </ac:spMkLst>
        </pc:spChg>
      </pc:sldChg>
      <pc:sldChg chg="modSp mod">
        <pc:chgData name="Takaaki Masaki" userId="56a88eee-ec65-40f9-8642-be59fd24ba9b" providerId="ADAL" clId="{B854D024-8FF7-452B-B2F9-8E2041F90BBF}" dt="2024-04-02T01:54:38.663" v="112" actId="20577"/>
        <pc:sldMkLst>
          <pc:docMk/>
          <pc:sldMk cId="3961101582" sldId="260"/>
        </pc:sldMkLst>
        <pc:spChg chg="mod">
          <ac:chgData name="Takaaki Masaki" userId="56a88eee-ec65-40f9-8642-be59fd24ba9b" providerId="ADAL" clId="{B854D024-8FF7-452B-B2F9-8E2041F90BBF}" dt="2024-04-02T01:54:38.663" v="112" actId="20577"/>
          <ac:spMkLst>
            <pc:docMk/>
            <pc:sldMk cId="3961101582" sldId="260"/>
            <ac:spMk id="2" creationId="{BFA593CE-D009-491F-9B8E-186C1CE55904}"/>
          </ac:spMkLst>
        </pc:spChg>
      </pc:sldChg>
      <pc:sldChg chg="modSp mod">
        <pc:chgData name="Takaaki Masaki" userId="56a88eee-ec65-40f9-8642-be59fd24ba9b" providerId="ADAL" clId="{B854D024-8FF7-452B-B2F9-8E2041F90BBF}" dt="2024-04-02T01:54:04.112" v="88" actId="20577"/>
        <pc:sldMkLst>
          <pc:docMk/>
          <pc:sldMk cId="553589282" sldId="261"/>
        </pc:sldMkLst>
        <pc:spChg chg="mod">
          <ac:chgData name="Takaaki Masaki" userId="56a88eee-ec65-40f9-8642-be59fd24ba9b" providerId="ADAL" clId="{B854D024-8FF7-452B-B2F9-8E2041F90BBF}" dt="2024-04-02T01:54:04.112" v="88" actId="20577"/>
          <ac:spMkLst>
            <pc:docMk/>
            <pc:sldMk cId="553589282" sldId="261"/>
            <ac:spMk id="2" creationId="{E01226A3-FD12-4BA7-ABF5-9D408688073E}"/>
          </ac:spMkLst>
        </pc:spChg>
      </pc:sldChg>
      <pc:sldChg chg="modSp mod">
        <pc:chgData name="Takaaki Masaki" userId="56a88eee-ec65-40f9-8642-be59fd24ba9b" providerId="ADAL" clId="{B854D024-8FF7-452B-B2F9-8E2041F90BBF}" dt="2024-04-16T01:37:46.933" v="5743" actId="1076"/>
        <pc:sldMkLst>
          <pc:docMk/>
          <pc:sldMk cId="2126581259" sldId="262"/>
        </pc:sldMkLst>
        <pc:spChg chg="mod">
          <ac:chgData name="Takaaki Masaki" userId="56a88eee-ec65-40f9-8642-be59fd24ba9b" providerId="ADAL" clId="{B854D024-8FF7-452B-B2F9-8E2041F90BBF}" dt="2024-04-02T01:54:13.804" v="94" actId="20577"/>
          <ac:spMkLst>
            <pc:docMk/>
            <pc:sldMk cId="2126581259" sldId="262"/>
            <ac:spMk id="2" creationId="{5F51176E-0EB4-404D-9296-04C17AE93B13}"/>
          </ac:spMkLst>
        </pc:spChg>
        <pc:spChg chg="mod">
          <ac:chgData name="Takaaki Masaki" userId="56a88eee-ec65-40f9-8642-be59fd24ba9b" providerId="ADAL" clId="{B854D024-8FF7-452B-B2F9-8E2041F90BBF}" dt="2024-04-16T01:37:27.241" v="5739" actId="1076"/>
          <ac:spMkLst>
            <pc:docMk/>
            <pc:sldMk cId="2126581259" sldId="262"/>
            <ac:spMk id="8" creationId="{4D10D322-EF40-0744-B5B3-90A192ECFD43}"/>
          </ac:spMkLst>
        </pc:spChg>
        <pc:spChg chg="mod">
          <ac:chgData name="Takaaki Masaki" userId="56a88eee-ec65-40f9-8642-be59fd24ba9b" providerId="ADAL" clId="{B854D024-8FF7-452B-B2F9-8E2041F90BBF}" dt="2024-04-16T01:37:30.748" v="5740" actId="1076"/>
          <ac:spMkLst>
            <pc:docMk/>
            <pc:sldMk cId="2126581259" sldId="262"/>
            <ac:spMk id="9" creationId="{7830D813-2546-3142-8C1C-A3F7206EA378}"/>
          </ac:spMkLst>
        </pc:spChg>
        <pc:spChg chg="mod">
          <ac:chgData name="Takaaki Masaki" userId="56a88eee-ec65-40f9-8642-be59fd24ba9b" providerId="ADAL" clId="{B854D024-8FF7-452B-B2F9-8E2041F90BBF}" dt="2024-04-16T01:37:34.386" v="5741" actId="1076"/>
          <ac:spMkLst>
            <pc:docMk/>
            <pc:sldMk cId="2126581259" sldId="262"/>
            <ac:spMk id="10" creationId="{97E79E67-236F-A04A-A2FB-C4D4FA2D9CB6}"/>
          </ac:spMkLst>
        </pc:spChg>
        <pc:spChg chg="mod">
          <ac:chgData name="Takaaki Masaki" userId="56a88eee-ec65-40f9-8642-be59fd24ba9b" providerId="ADAL" clId="{B854D024-8FF7-452B-B2F9-8E2041F90BBF}" dt="2024-04-16T01:37:40.377" v="5742" actId="1076"/>
          <ac:spMkLst>
            <pc:docMk/>
            <pc:sldMk cId="2126581259" sldId="262"/>
            <ac:spMk id="11" creationId="{9967711C-4EA9-6145-8B8A-C65ADFC4A2C6}"/>
          </ac:spMkLst>
        </pc:spChg>
        <pc:spChg chg="mod">
          <ac:chgData name="Takaaki Masaki" userId="56a88eee-ec65-40f9-8642-be59fd24ba9b" providerId="ADAL" clId="{B854D024-8FF7-452B-B2F9-8E2041F90BBF}" dt="2024-04-16T01:37:46.933" v="5743" actId="1076"/>
          <ac:spMkLst>
            <pc:docMk/>
            <pc:sldMk cId="2126581259" sldId="262"/>
            <ac:spMk id="12" creationId="{0F590AD0-C866-9742-95BF-694F739C30A6}"/>
          </ac:spMkLst>
        </pc:spChg>
      </pc:sldChg>
      <pc:sldChg chg="delSp modSp mod">
        <pc:chgData name="Takaaki Masaki" userId="56a88eee-ec65-40f9-8642-be59fd24ba9b" providerId="ADAL" clId="{B854D024-8FF7-452B-B2F9-8E2041F90BBF}" dt="2024-04-02T01:54:16.945" v="97" actId="20577"/>
        <pc:sldMkLst>
          <pc:docMk/>
          <pc:sldMk cId="194667375" sldId="263"/>
        </pc:sldMkLst>
        <pc:spChg chg="mod">
          <ac:chgData name="Takaaki Masaki" userId="56a88eee-ec65-40f9-8642-be59fd24ba9b" providerId="ADAL" clId="{B854D024-8FF7-452B-B2F9-8E2041F90BBF}" dt="2024-04-02T01:54:16.945" v="97" actId="20577"/>
          <ac:spMkLst>
            <pc:docMk/>
            <pc:sldMk cId="194667375" sldId="263"/>
            <ac:spMk id="2" creationId="{E01226A3-FD12-4BA7-ABF5-9D408688073E}"/>
          </ac:spMkLst>
        </pc:spChg>
        <pc:spChg chg="del">
          <ac:chgData name="Takaaki Masaki" userId="56a88eee-ec65-40f9-8642-be59fd24ba9b" providerId="ADAL" clId="{B854D024-8FF7-452B-B2F9-8E2041F90BBF}" dt="2024-04-02T01:30:39.242" v="4" actId="478"/>
          <ac:spMkLst>
            <pc:docMk/>
            <pc:sldMk cId="194667375" sldId="263"/>
            <ac:spMk id="3" creationId="{3EE0DA0E-4180-4226-A6C5-B8C9859EB37D}"/>
          </ac:spMkLst>
        </pc:spChg>
        <pc:spChg chg="del">
          <ac:chgData name="Takaaki Masaki" userId="56a88eee-ec65-40f9-8642-be59fd24ba9b" providerId="ADAL" clId="{B854D024-8FF7-452B-B2F9-8E2041F90BBF}" dt="2024-04-02T01:30:43.591" v="6" actId="478"/>
          <ac:spMkLst>
            <pc:docMk/>
            <pc:sldMk cId="194667375" sldId="263"/>
            <ac:spMk id="4" creationId="{1EE6E14C-DFEC-4A41-972C-3C099E1C11EF}"/>
          </ac:spMkLst>
        </pc:spChg>
        <pc:spChg chg="del">
          <ac:chgData name="Takaaki Masaki" userId="56a88eee-ec65-40f9-8642-be59fd24ba9b" providerId="ADAL" clId="{B854D024-8FF7-452B-B2F9-8E2041F90BBF}" dt="2024-04-02T01:30:40.811" v="5" actId="478"/>
          <ac:spMkLst>
            <pc:docMk/>
            <pc:sldMk cId="194667375" sldId="263"/>
            <ac:spMk id="5" creationId="{690978AD-00A2-4582-B389-CFB3FB3E3D1D}"/>
          </ac:spMkLst>
        </pc:spChg>
      </pc:sldChg>
      <pc:sldChg chg="modSp mod">
        <pc:chgData name="Takaaki Masaki" userId="56a88eee-ec65-40f9-8642-be59fd24ba9b" providerId="ADAL" clId="{B854D024-8FF7-452B-B2F9-8E2041F90BBF}" dt="2024-04-02T01:54:21.496" v="100" actId="20577"/>
        <pc:sldMkLst>
          <pc:docMk/>
          <pc:sldMk cId="25861721" sldId="264"/>
        </pc:sldMkLst>
        <pc:spChg chg="mod">
          <ac:chgData name="Takaaki Masaki" userId="56a88eee-ec65-40f9-8642-be59fd24ba9b" providerId="ADAL" clId="{B854D024-8FF7-452B-B2F9-8E2041F90BBF}" dt="2024-04-02T01:54:21.496" v="100" actId="20577"/>
          <ac:spMkLst>
            <pc:docMk/>
            <pc:sldMk cId="25861721" sldId="264"/>
            <ac:spMk id="2" creationId="{5F51176E-0EB4-404D-9296-04C17AE93B13}"/>
          </ac:spMkLst>
        </pc:spChg>
      </pc:sldChg>
      <pc:sldChg chg="modSp mod">
        <pc:chgData name="Takaaki Masaki" userId="56a88eee-ec65-40f9-8642-be59fd24ba9b" providerId="ADAL" clId="{B854D024-8FF7-452B-B2F9-8E2041F90BBF}" dt="2024-04-16T06:32:50.030" v="7904" actId="255"/>
        <pc:sldMkLst>
          <pc:docMk/>
          <pc:sldMk cId="4156061048" sldId="265"/>
        </pc:sldMkLst>
        <pc:spChg chg="mod">
          <ac:chgData name="Takaaki Masaki" userId="56a88eee-ec65-40f9-8642-be59fd24ba9b" providerId="ADAL" clId="{B854D024-8FF7-452B-B2F9-8E2041F90BBF}" dt="2024-04-02T01:54:29.289" v="106" actId="20577"/>
          <ac:spMkLst>
            <pc:docMk/>
            <pc:sldMk cId="4156061048" sldId="265"/>
            <ac:spMk id="2" creationId="{6C614DC0-D4A0-3F4E-B938-8EE44C13F712}"/>
          </ac:spMkLst>
        </pc:spChg>
        <pc:spChg chg="mod">
          <ac:chgData name="Takaaki Masaki" userId="56a88eee-ec65-40f9-8642-be59fd24ba9b" providerId="ADAL" clId="{B854D024-8FF7-452B-B2F9-8E2041F90BBF}" dt="2024-04-16T06:32:50.030" v="7904" actId="255"/>
          <ac:spMkLst>
            <pc:docMk/>
            <pc:sldMk cId="4156061048" sldId="265"/>
            <ac:spMk id="31" creationId="{46856D70-A0FB-D440-A34C-B608A10BE677}"/>
          </ac:spMkLst>
        </pc:spChg>
        <pc:picChg chg="mod">
          <ac:chgData name="Takaaki Masaki" userId="56a88eee-ec65-40f9-8642-be59fd24ba9b" providerId="ADAL" clId="{B854D024-8FF7-452B-B2F9-8E2041F90BBF}" dt="2024-04-16T06:31:11.103" v="7902" actId="1076"/>
          <ac:picMkLst>
            <pc:docMk/>
            <pc:sldMk cId="4156061048" sldId="265"/>
            <ac:picMk id="23" creationId="{FC3AF28F-66E0-0242-85B7-BFD89CE39962}"/>
          </ac:picMkLst>
        </pc:picChg>
      </pc:sldChg>
      <pc:sldChg chg="delSp modSp mod">
        <pc:chgData name="Takaaki Masaki" userId="56a88eee-ec65-40f9-8642-be59fd24ba9b" providerId="ADAL" clId="{B854D024-8FF7-452B-B2F9-8E2041F90BBF}" dt="2024-04-02T01:54:25.072" v="103" actId="20577"/>
        <pc:sldMkLst>
          <pc:docMk/>
          <pc:sldMk cId="351976269" sldId="266"/>
        </pc:sldMkLst>
        <pc:spChg chg="mod">
          <ac:chgData name="Takaaki Masaki" userId="56a88eee-ec65-40f9-8642-be59fd24ba9b" providerId="ADAL" clId="{B854D024-8FF7-452B-B2F9-8E2041F90BBF}" dt="2024-04-02T01:54:25.072" v="103" actId="20577"/>
          <ac:spMkLst>
            <pc:docMk/>
            <pc:sldMk cId="351976269" sldId="266"/>
            <ac:spMk id="2" creationId="{E01226A3-FD12-4BA7-ABF5-9D408688073E}"/>
          </ac:spMkLst>
        </pc:spChg>
        <pc:spChg chg="del mod">
          <ac:chgData name="Takaaki Masaki" userId="56a88eee-ec65-40f9-8642-be59fd24ba9b" providerId="ADAL" clId="{B854D024-8FF7-452B-B2F9-8E2041F90BBF}" dt="2024-04-02T01:30:59.575" v="9" actId="478"/>
          <ac:spMkLst>
            <pc:docMk/>
            <pc:sldMk cId="351976269" sldId="266"/>
            <ac:spMk id="3" creationId="{3EE0DA0E-4180-4226-A6C5-B8C9859EB37D}"/>
          </ac:spMkLst>
        </pc:spChg>
        <pc:spChg chg="del">
          <ac:chgData name="Takaaki Masaki" userId="56a88eee-ec65-40f9-8642-be59fd24ba9b" providerId="ADAL" clId="{B854D024-8FF7-452B-B2F9-8E2041F90BBF}" dt="2024-04-02T01:31:03.383" v="11" actId="478"/>
          <ac:spMkLst>
            <pc:docMk/>
            <pc:sldMk cId="351976269" sldId="266"/>
            <ac:spMk id="4" creationId="{1EE6E14C-DFEC-4A41-972C-3C099E1C11EF}"/>
          </ac:spMkLst>
        </pc:spChg>
        <pc:spChg chg="del">
          <ac:chgData name="Takaaki Masaki" userId="56a88eee-ec65-40f9-8642-be59fd24ba9b" providerId="ADAL" clId="{B854D024-8FF7-452B-B2F9-8E2041F90BBF}" dt="2024-04-02T01:31:01.525" v="10" actId="478"/>
          <ac:spMkLst>
            <pc:docMk/>
            <pc:sldMk cId="351976269" sldId="266"/>
            <ac:spMk id="5" creationId="{690978AD-00A2-4582-B389-CFB3FB3E3D1D}"/>
          </ac:spMkLst>
        </pc:spChg>
      </pc:sldChg>
      <pc:sldChg chg="delSp modSp mod">
        <pc:chgData name="Takaaki Masaki" userId="56a88eee-ec65-40f9-8642-be59fd24ba9b" providerId="ADAL" clId="{B854D024-8FF7-452B-B2F9-8E2041F90BBF}" dt="2024-04-16T00:26:22.850" v="4677" actId="20577"/>
        <pc:sldMkLst>
          <pc:docMk/>
          <pc:sldMk cId="1901022434" sldId="267"/>
        </pc:sldMkLst>
        <pc:spChg chg="mod">
          <ac:chgData name="Takaaki Masaki" userId="56a88eee-ec65-40f9-8642-be59fd24ba9b" providerId="ADAL" clId="{B854D024-8FF7-452B-B2F9-8E2041F90BBF}" dt="2024-04-16T00:26:22.850" v="4677" actId="20577"/>
          <ac:spMkLst>
            <pc:docMk/>
            <pc:sldMk cId="1901022434" sldId="267"/>
            <ac:spMk id="2" creationId="{E01226A3-FD12-4BA7-ABF5-9D408688073E}"/>
          </ac:spMkLst>
        </pc:spChg>
        <pc:spChg chg="del">
          <ac:chgData name="Takaaki Masaki" userId="56a88eee-ec65-40f9-8642-be59fd24ba9b" providerId="ADAL" clId="{B854D024-8FF7-452B-B2F9-8E2041F90BBF}" dt="2024-04-02T01:54:44.904" v="116" actId="478"/>
          <ac:spMkLst>
            <pc:docMk/>
            <pc:sldMk cId="1901022434" sldId="267"/>
            <ac:spMk id="3" creationId="{3EE0DA0E-4180-4226-A6C5-B8C9859EB37D}"/>
          </ac:spMkLst>
        </pc:spChg>
        <pc:spChg chg="del">
          <ac:chgData name="Takaaki Masaki" userId="56a88eee-ec65-40f9-8642-be59fd24ba9b" providerId="ADAL" clId="{B854D024-8FF7-452B-B2F9-8E2041F90BBF}" dt="2024-04-02T01:54:48.888" v="118" actId="478"/>
          <ac:spMkLst>
            <pc:docMk/>
            <pc:sldMk cId="1901022434" sldId="267"/>
            <ac:spMk id="4" creationId="{1EE6E14C-DFEC-4A41-972C-3C099E1C11EF}"/>
          </ac:spMkLst>
        </pc:spChg>
        <pc:spChg chg="del">
          <ac:chgData name="Takaaki Masaki" userId="56a88eee-ec65-40f9-8642-be59fd24ba9b" providerId="ADAL" clId="{B854D024-8FF7-452B-B2F9-8E2041F90BBF}" dt="2024-04-02T01:54:46.797" v="117" actId="478"/>
          <ac:spMkLst>
            <pc:docMk/>
            <pc:sldMk cId="1901022434" sldId="267"/>
            <ac:spMk id="5" creationId="{690978AD-00A2-4582-B389-CFB3FB3E3D1D}"/>
          </ac:spMkLst>
        </pc:spChg>
      </pc:sldChg>
      <pc:sldChg chg="del addCm">
        <pc:chgData name="Takaaki Masaki" userId="56a88eee-ec65-40f9-8642-be59fd24ba9b" providerId="ADAL" clId="{B854D024-8FF7-452B-B2F9-8E2041F90BBF}" dt="2024-04-11T03:27:47.109" v="2319" actId="47"/>
        <pc:sldMkLst>
          <pc:docMk/>
          <pc:sldMk cId="3881752054" sldId="270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Takaaki Masaki" userId="56a88eee-ec65-40f9-8642-be59fd24ba9b" providerId="ADAL" clId="{B854D024-8FF7-452B-B2F9-8E2041F90BBF}" dt="2024-04-02T02:31:42.088" v="119"/>
              <pc2:cmMkLst xmlns:pc2="http://schemas.microsoft.com/office/powerpoint/2019/9/main/command">
                <pc:docMk/>
                <pc:sldMk cId="3881752054" sldId="270"/>
                <pc2:cmMk id="{898D0A32-260F-444A-9EEB-E4F0905C426E}"/>
              </pc2:cmMkLst>
            </pc226:cmChg>
          </p:ext>
        </pc:extLst>
      </pc:sldChg>
      <pc:sldChg chg="del">
        <pc:chgData name="Takaaki Masaki" userId="56a88eee-ec65-40f9-8642-be59fd24ba9b" providerId="ADAL" clId="{B854D024-8FF7-452B-B2F9-8E2041F90BBF}" dt="2024-04-11T03:27:47.109" v="2319" actId="47"/>
        <pc:sldMkLst>
          <pc:docMk/>
          <pc:sldMk cId="3019570019" sldId="271"/>
        </pc:sldMkLst>
      </pc:sldChg>
      <pc:sldChg chg="del">
        <pc:chgData name="Takaaki Masaki" userId="56a88eee-ec65-40f9-8642-be59fd24ba9b" providerId="ADAL" clId="{B854D024-8FF7-452B-B2F9-8E2041F90BBF}" dt="2024-04-11T03:27:47.109" v="2319" actId="47"/>
        <pc:sldMkLst>
          <pc:docMk/>
          <pc:sldMk cId="217402464" sldId="272"/>
        </pc:sldMkLst>
      </pc:sldChg>
      <pc:sldChg chg="del">
        <pc:chgData name="Takaaki Masaki" userId="56a88eee-ec65-40f9-8642-be59fd24ba9b" providerId="ADAL" clId="{B854D024-8FF7-452B-B2F9-8E2041F90BBF}" dt="2024-04-11T03:27:47.109" v="2319" actId="47"/>
        <pc:sldMkLst>
          <pc:docMk/>
          <pc:sldMk cId="576614564" sldId="274"/>
        </pc:sldMkLst>
      </pc:sldChg>
      <pc:sldChg chg="del">
        <pc:chgData name="Takaaki Masaki" userId="56a88eee-ec65-40f9-8642-be59fd24ba9b" providerId="ADAL" clId="{B854D024-8FF7-452B-B2F9-8E2041F90BBF}" dt="2024-04-11T03:27:47.109" v="2319" actId="47"/>
        <pc:sldMkLst>
          <pc:docMk/>
          <pc:sldMk cId="559914308" sldId="275"/>
        </pc:sldMkLst>
      </pc:sldChg>
      <pc:sldChg chg="del">
        <pc:chgData name="Takaaki Masaki" userId="56a88eee-ec65-40f9-8642-be59fd24ba9b" providerId="ADAL" clId="{B854D024-8FF7-452B-B2F9-8E2041F90BBF}" dt="2024-04-11T03:27:47.109" v="2319" actId="47"/>
        <pc:sldMkLst>
          <pc:docMk/>
          <pc:sldMk cId="2281439180" sldId="276"/>
        </pc:sldMkLst>
      </pc:sldChg>
      <pc:sldChg chg="del">
        <pc:chgData name="Takaaki Masaki" userId="56a88eee-ec65-40f9-8642-be59fd24ba9b" providerId="ADAL" clId="{B854D024-8FF7-452B-B2F9-8E2041F90BBF}" dt="2024-04-11T03:27:47.109" v="2319" actId="47"/>
        <pc:sldMkLst>
          <pc:docMk/>
          <pc:sldMk cId="416035135" sldId="277"/>
        </pc:sldMkLst>
      </pc:sldChg>
      <pc:sldChg chg="del">
        <pc:chgData name="Takaaki Masaki" userId="56a88eee-ec65-40f9-8642-be59fd24ba9b" providerId="ADAL" clId="{B854D024-8FF7-452B-B2F9-8E2041F90BBF}" dt="2024-04-11T03:27:47.109" v="2319" actId="47"/>
        <pc:sldMkLst>
          <pc:docMk/>
          <pc:sldMk cId="1825696332" sldId="278"/>
        </pc:sldMkLst>
      </pc:sldChg>
      <pc:sldChg chg="addSp delSp modSp del mod addCm">
        <pc:chgData name="Takaaki Masaki" userId="56a88eee-ec65-40f9-8642-be59fd24ba9b" providerId="ADAL" clId="{B854D024-8FF7-452B-B2F9-8E2041F90BBF}" dt="2024-04-11T03:27:47.109" v="2319" actId="47"/>
        <pc:sldMkLst>
          <pc:docMk/>
          <pc:sldMk cId="1796130260" sldId="279"/>
        </pc:sldMkLst>
        <pc:spChg chg="mod">
          <ac:chgData name="Takaaki Masaki" userId="56a88eee-ec65-40f9-8642-be59fd24ba9b" providerId="ADAL" clId="{B854D024-8FF7-452B-B2F9-8E2041F90BBF}" dt="2024-04-02T04:19:39.311" v="129" actId="20577"/>
          <ac:spMkLst>
            <pc:docMk/>
            <pc:sldMk cId="1796130260" sldId="279"/>
            <ac:spMk id="10" creationId="{DDD61ABB-EBDC-FA49-AD27-5698C4A92B75}"/>
          </ac:spMkLst>
        </pc:spChg>
        <pc:spChg chg="add del mod">
          <ac:chgData name="Takaaki Masaki" userId="56a88eee-ec65-40f9-8642-be59fd24ba9b" providerId="ADAL" clId="{B854D024-8FF7-452B-B2F9-8E2041F90BBF}" dt="2024-04-02T04:19:45.102" v="130" actId="1076"/>
          <ac:spMkLst>
            <pc:docMk/>
            <pc:sldMk cId="1796130260" sldId="279"/>
            <ac:spMk id="32" creationId="{D9C141CA-9F8C-AE41-B7B8-58A80B492D23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Takaaki Masaki" userId="56a88eee-ec65-40f9-8642-be59fd24ba9b" providerId="ADAL" clId="{B854D024-8FF7-452B-B2F9-8E2041F90BBF}" dt="2024-04-02T04:19:23.958" v="123"/>
              <pc2:cmMkLst xmlns:pc2="http://schemas.microsoft.com/office/powerpoint/2019/9/main/command">
                <pc:docMk/>
                <pc:sldMk cId="1796130260" sldId="279"/>
                <pc2:cmMk id="{065C3AD0-4E71-4572-9195-9691D1273C12}"/>
              </pc2:cmMkLst>
            </pc226:cmChg>
          </p:ext>
        </pc:extLst>
      </pc:sldChg>
      <pc:sldChg chg="del addCm">
        <pc:chgData name="Takaaki Masaki" userId="56a88eee-ec65-40f9-8642-be59fd24ba9b" providerId="ADAL" clId="{B854D024-8FF7-452B-B2F9-8E2041F90BBF}" dt="2024-04-11T03:27:47.109" v="2319" actId="47"/>
        <pc:sldMkLst>
          <pc:docMk/>
          <pc:sldMk cId="543936518" sldId="280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Takaaki Masaki" userId="56a88eee-ec65-40f9-8642-be59fd24ba9b" providerId="ADAL" clId="{B854D024-8FF7-452B-B2F9-8E2041F90BBF}" dt="2024-04-02T04:20:07.424" v="131"/>
              <pc2:cmMkLst xmlns:pc2="http://schemas.microsoft.com/office/powerpoint/2019/9/main/command">
                <pc:docMk/>
                <pc:sldMk cId="543936518" sldId="280"/>
                <pc2:cmMk id="{489E8E3B-4BA5-4287-A373-1D7097774274}"/>
              </pc2:cmMkLst>
            </pc226:cmChg>
          </p:ext>
        </pc:extLst>
      </pc:sldChg>
      <pc:sldChg chg="del addCm">
        <pc:chgData name="Takaaki Masaki" userId="56a88eee-ec65-40f9-8642-be59fd24ba9b" providerId="ADAL" clId="{B854D024-8FF7-452B-B2F9-8E2041F90BBF}" dt="2024-04-11T03:27:47.109" v="2319" actId="47"/>
        <pc:sldMkLst>
          <pc:docMk/>
          <pc:sldMk cId="4067997508" sldId="281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Takaaki Masaki" userId="56a88eee-ec65-40f9-8642-be59fd24ba9b" providerId="ADAL" clId="{B854D024-8FF7-452B-B2F9-8E2041F90BBF}" dt="2024-04-02T04:21:29.899" v="132"/>
              <pc2:cmMkLst xmlns:pc2="http://schemas.microsoft.com/office/powerpoint/2019/9/main/command">
                <pc:docMk/>
                <pc:sldMk cId="4067997508" sldId="281"/>
                <pc2:cmMk id="{D1D6EB25-FED8-4191-A747-A00406808358}"/>
              </pc2:cmMkLst>
            </pc226:cmChg>
          </p:ext>
        </pc:extLst>
      </pc:sldChg>
      <pc:sldChg chg="del">
        <pc:chgData name="Takaaki Masaki" userId="56a88eee-ec65-40f9-8642-be59fd24ba9b" providerId="ADAL" clId="{B854D024-8FF7-452B-B2F9-8E2041F90BBF}" dt="2024-04-11T03:27:47.109" v="2319" actId="47"/>
        <pc:sldMkLst>
          <pc:docMk/>
          <pc:sldMk cId="467404387" sldId="282"/>
        </pc:sldMkLst>
      </pc:sldChg>
      <pc:sldChg chg="del addCm">
        <pc:chgData name="Takaaki Masaki" userId="56a88eee-ec65-40f9-8642-be59fd24ba9b" providerId="ADAL" clId="{B854D024-8FF7-452B-B2F9-8E2041F90BBF}" dt="2024-04-11T03:27:47.109" v="2319" actId="47"/>
        <pc:sldMkLst>
          <pc:docMk/>
          <pc:sldMk cId="2749391245" sldId="283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Takaaki Masaki" userId="56a88eee-ec65-40f9-8642-be59fd24ba9b" providerId="ADAL" clId="{B854D024-8FF7-452B-B2F9-8E2041F90BBF}" dt="2024-04-02T04:22:55.039" v="133"/>
              <pc2:cmMkLst xmlns:pc2="http://schemas.microsoft.com/office/powerpoint/2019/9/main/command">
                <pc:docMk/>
                <pc:sldMk cId="2749391245" sldId="283"/>
                <pc2:cmMk id="{89795E58-FD6F-48A0-8F3F-07FE3CD954BE}"/>
              </pc2:cmMkLst>
            </pc226:cmChg>
          </p:ext>
        </pc:extLst>
      </pc:sldChg>
      <pc:sldChg chg="del">
        <pc:chgData name="Takaaki Masaki" userId="56a88eee-ec65-40f9-8642-be59fd24ba9b" providerId="ADAL" clId="{B854D024-8FF7-452B-B2F9-8E2041F90BBF}" dt="2024-04-11T03:28:16.628" v="2320" actId="47"/>
        <pc:sldMkLst>
          <pc:docMk/>
          <pc:sldMk cId="647443771" sldId="284"/>
        </pc:sldMkLst>
      </pc:sldChg>
      <pc:sldChg chg="del">
        <pc:chgData name="Takaaki Masaki" userId="56a88eee-ec65-40f9-8642-be59fd24ba9b" providerId="ADAL" clId="{B854D024-8FF7-452B-B2F9-8E2041F90BBF}" dt="2024-04-11T03:28:18.476" v="2321" actId="47"/>
        <pc:sldMkLst>
          <pc:docMk/>
          <pc:sldMk cId="3620493443" sldId="285"/>
        </pc:sldMkLst>
      </pc:sldChg>
      <pc:sldChg chg="del">
        <pc:chgData name="Takaaki Masaki" userId="56a88eee-ec65-40f9-8642-be59fd24ba9b" providerId="ADAL" clId="{B854D024-8FF7-452B-B2F9-8E2041F90BBF}" dt="2024-04-11T03:28:20.165" v="2322" actId="47"/>
        <pc:sldMkLst>
          <pc:docMk/>
          <pc:sldMk cId="1750090798" sldId="286"/>
        </pc:sldMkLst>
      </pc:sldChg>
      <pc:sldChg chg="del">
        <pc:chgData name="Takaaki Masaki" userId="56a88eee-ec65-40f9-8642-be59fd24ba9b" providerId="ADAL" clId="{B854D024-8FF7-452B-B2F9-8E2041F90BBF}" dt="2024-04-11T03:28:24.835" v="2323" actId="47"/>
        <pc:sldMkLst>
          <pc:docMk/>
          <pc:sldMk cId="3338456390" sldId="287"/>
        </pc:sldMkLst>
      </pc:sldChg>
      <pc:sldChg chg="delSp modSp mod">
        <pc:chgData name="Takaaki Masaki" userId="56a88eee-ec65-40f9-8642-be59fd24ba9b" providerId="ADAL" clId="{B854D024-8FF7-452B-B2F9-8E2041F90BBF}" dt="2024-04-16T06:33:13.760" v="7906" actId="1076"/>
        <pc:sldMkLst>
          <pc:docMk/>
          <pc:sldMk cId="622223919" sldId="288"/>
        </pc:sldMkLst>
        <pc:spChg chg="mod">
          <ac:chgData name="Takaaki Masaki" userId="56a88eee-ec65-40f9-8642-be59fd24ba9b" providerId="ADAL" clId="{B854D024-8FF7-452B-B2F9-8E2041F90BBF}" dt="2024-04-16T06:33:13.760" v="7906" actId="1076"/>
          <ac:spMkLst>
            <pc:docMk/>
            <pc:sldMk cId="622223919" sldId="288"/>
            <ac:spMk id="2" creationId="{500B4985-5844-4EB1-9DE5-6177B9061EB1}"/>
          </ac:spMkLst>
        </pc:spChg>
        <pc:spChg chg="del">
          <ac:chgData name="Takaaki Masaki" userId="56a88eee-ec65-40f9-8642-be59fd24ba9b" providerId="ADAL" clId="{B854D024-8FF7-452B-B2F9-8E2041F90BBF}" dt="2024-04-16T02:02:55.005" v="6340" actId="478"/>
          <ac:spMkLst>
            <pc:docMk/>
            <pc:sldMk cId="622223919" sldId="288"/>
            <ac:spMk id="3" creationId="{9BD1DEA5-3A2E-4FD9-9036-60D3104EA00D}"/>
          </ac:spMkLst>
        </pc:spChg>
        <pc:spChg chg="del">
          <ac:chgData name="Takaaki Masaki" userId="56a88eee-ec65-40f9-8642-be59fd24ba9b" providerId="ADAL" clId="{B854D024-8FF7-452B-B2F9-8E2041F90BBF}" dt="2024-04-16T02:02:48.900" v="6339" actId="478"/>
          <ac:spMkLst>
            <pc:docMk/>
            <pc:sldMk cId="622223919" sldId="288"/>
            <ac:spMk id="4" creationId="{D23673E8-12C1-4920-980E-880DA27CB9D6}"/>
          </ac:spMkLst>
        </pc:spChg>
        <pc:spChg chg="del">
          <ac:chgData name="Takaaki Masaki" userId="56a88eee-ec65-40f9-8642-be59fd24ba9b" providerId="ADAL" clId="{B854D024-8FF7-452B-B2F9-8E2041F90BBF}" dt="2024-04-16T02:02:47.275" v="6338" actId="478"/>
          <ac:spMkLst>
            <pc:docMk/>
            <pc:sldMk cId="622223919" sldId="288"/>
            <ac:spMk id="5" creationId="{C850804E-FCCC-4283-950A-83B7D00F344A}"/>
          </ac:spMkLst>
        </pc:spChg>
      </pc:sldChg>
      <pc:sldChg chg="add del ord">
        <pc:chgData name="Takaaki Masaki" userId="56a88eee-ec65-40f9-8642-be59fd24ba9b" providerId="ADAL" clId="{B854D024-8FF7-452B-B2F9-8E2041F90BBF}" dt="2024-04-11T03:34:49.452" v="2435" actId="47"/>
        <pc:sldMkLst>
          <pc:docMk/>
          <pc:sldMk cId="135186025" sldId="289"/>
        </pc:sldMkLst>
      </pc:sldChg>
      <pc:sldChg chg="delSp modSp add del mod ord">
        <pc:chgData name="Takaaki Masaki" userId="56a88eee-ec65-40f9-8642-be59fd24ba9b" providerId="ADAL" clId="{B854D024-8FF7-452B-B2F9-8E2041F90BBF}" dt="2024-04-11T03:35:11.976" v="2443" actId="20577"/>
        <pc:sldMkLst>
          <pc:docMk/>
          <pc:sldMk cId="554892308" sldId="290"/>
        </pc:sldMkLst>
        <pc:spChg chg="mod">
          <ac:chgData name="Takaaki Masaki" userId="56a88eee-ec65-40f9-8642-be59fd24ba9b" providerId="ADAL" clId="{B854D024-8FF7-452B-B2F9-8E2041F90BBF}" dt="2024-04-11T03:35:11.976" v="2443" actId="20577"/>
          <ac:spMkLst>
            <pc:docMk/>
            <pc:sldMk cId="554892308" sldId="290"/>
            <ac:spMk id="2" creationId="{E01226A3-FD12-4BA7-ABF5-9D408688073E}"/>
          </ac:spMkLst>
        </pc:spChg>
        <pc:spChg chg="del">
          <ac:chgData name="Takaaki Masaki" userId="56a88eee-ec65-40f9-8642-be59fd24ba9b" providerId="ADAL" clId="{B854D024-8FF7-452B-B2F9-8E2041F90BBF}" dt="2024-04-11T03:35:05.512" v="2438" actId="478"/>
          <ac:spMkLst>
            <pc:docMk/>
            <pc:sldMk cId="554892308" sldId="290"/>
            <ac:spMk id="3" creationId="{3EE0DA0E-4180-4226-A6C5-B8C9859EB37D}"/>
          </ac:spMkLst>
        </pc:spChg>
        <pc:spChg chg="del">
          <ac:chgData name="Takaaki Masaki" userId="56a88eee-ec65-40f9-8642-be59fd24ba9b" providerId="ADAL" clId="{B854D024-8FF7-452B-B2F9-8E2041F90BBF}" dt="2024-04-11T03:35:09.986" v="2440" actId="478"/>
          <ac:spMkLst>
            <pc:docMk/>
            <pc:sldMk cId="554892308" sldId="290"/>
            <ac:spMk id="4" creationId="{1EE6E14C-DFEC-4A41-972C-3C099E1C11EF}"/>
          </ac:spMkLst>
        </pc:spChg>
        <pc:spChg chg="del">
          <ac:chgData name="Takaaki Masaki" userId="56a88eee-ec65-40f9-8642-be59fd24ba9b" providerId="ADAL" clId="{B854D024-8FF7-452B-B2F9-8E2041F90BBF}" dt="2024-04-11T03:35:07.550" v="2439" actId="478"/>
          <ac:spMkLst>
            <pc:docMk/>
            <pc:sldMk cId="554892308" sldId="290"/>
            <ac:spMk id="5" creationId="{690978AD-00A2-4582-B389-CFB3FB3E3D1D}"/>
          </ac:spMkLst>
        </pc:spChg>
      </pc:sldChg>
      <pc:sldChg chg="modSp del mod ord">
        <pc:chgData name="Takaaki Masaki" userId="56a88eee-ec65-40f9-8642-be59fd24ba9b" providerId="ADAL" clId="{B854D024-8FF7-452B-B2F9-8E2041F90BBF}" dt="2024-04-11T03:35:58.981" v="2446" actId="47"/>
        <pc:sldMkLst>
          <pc:docMk/>
          <pc:sldMk cId="3274050655" sldId="291"/>
        </pc:sldMkLst>
        <pc:spChg chg="mod">
          <ac:chgData name="Takaaki Masaki" userId="56a88eee-ec65-40f9-8642-be59fd24ba9b" providerId="ADAL" clId="{B854D024-8FF7-452B-B2F9-8E2041F90BBF}" dt="2024-04-11T03:35:18.780" v="2444" actId="1076"/>
          <ac:spMkLst>
            <pc:docMk/>
            <pc:sldMk cId="3274050655" sldId="291"/>
            <ac:spMk id="8" creationId="{4B1785D1-25D9-8245-9DA8-B3BA978307CE}"/>
          </ac:spMkLst>
        </pc:spChg>
      </pc:sldChg>
      <pc:sldChg chg="modSp mod ord">
        <pc:chgData name="Takaaki Masaki" userId="56a88eee-ec65-40f9-8642-be59fd24ba9b" providerId="ADAL" clId="{B854D024-8FF7-452B-B2F9-8E2041F90BBF}" dt="2024-04-11T03:35:43.714" v="2445" actId="1076"/>
        <pc:sldMkLst>
          <pc:docMk/>
          <pc:sldMk cId="3240112873" sldId="292"/>
        </pc:sldMkLst>
        <pc:spChg chg="mod">
          <ac:chgData name="Takaaki Masaki" userId="56a88eee-ec65-40f9-8642-be59fd24ba9b" providerId="ADAL" clId="{B854D024-8FF7-452B-B2F9-8E2041F90BBF}" dt="2024-04-11T03:35:43.714" v="2445" actId="1076"/>
          <ac:spMkLst>
            <pc:docMk/>
            <pc:sldMk cId="3240112873" sldId="292"/>
            <ac:spMk id="8" creationId="{4B1785D1-25D9-8245-9DA8-B3BA978307CE}"/>
          </ac:spMkLst>
        </pc:spChg>
      </pc:sldChg>
      <pc:sldChg chg="ord">
        <pc:chgData name="Takaaki Masaki" userId="56a88eee-ec65-40f9-8642-be59fd24ba9b" providerId="ADAL" clId="{B854D024-8FF7-452B-B2F9-8E2041F90BBF}" dt="2024-04-11T03:34:58.707" v="2437"/>
        <pc:sldMkLst>
          <pc:docMk/>
          <pc:sldMk cId="1719800161" sldId="293"/>
        </pc:sldMkLst>
      </pc:sldChg>
      <pc:sldChg chg="ord">
        <pc:chgData name="Takaaki Masaki" userId="56a88eee-ec65-40f9-8642-be59fd24ba9b" providerId="ADAL" clId="{B854D024-8FF7-452B-B2F9-8E2041F90BBF}" dt="2024-04-11T03:34:58.707" v="2437"/>
        <pc:sldMkLst>
          <pc:docMk/>
          <pc:sldMk cId="3010995884" sldId="294"/>
        </pc:sldMkLst>
      </pc:sldChg>
      <pc:sldChg chg="del">
        <pc:chgData name="Takaaki Masaki" userId="56a88eee-ec65-40f9-8642-be59fd24ba9b" providerId="ADAL" clId="{B854D024-8FF7-452B-B2F9-8E2041F90BBF}" dt="2024-04-11T03:33:37.793" v="2427" actId="47"/>
        <pc:sldMkLst>
          <pc:docMk/>
          <pc:sldMk cId="793778490" sldId="295"/>
        </pc:sldMkLst>
      </pc:sldChg>
      <pc:sldChg chg="del">
        <pc:chgData name="Takaaki Masaki" userId="56a88eee-ec65-40f9-8642-be59fd24ba9b" providerId="ADAL" clId="{B854D024-8FF7-452B-B2F9-8E2041F90BBF}" dt="2024-04-11T03:33:37.793" v="2427" actId="47"/>
        <pc:sldMkLst>
          <pc:docMk/>
          <pc:sldMk cId="3178002913" sldId="296"/>
        </pc:sldMkLst>
      </pc:sldChg>
      <pc:sldChg chg="del">
        <pc:chgData name="Takaaki Masaki" userId="56a88eee-ec65-40f9-8642-be59fd24ba9b" providerId="ADAL" clId="{B854D024-8FF7-452B-B2F9-8E2041F90BBF}" dt="2024-04-11T03:33:37.793" v="2427" actId="47"/>
        <pc:sldMkLst>
          <pc:docMk/>
          <pc:sldMk cId="3044218326" sldId="297"/>
        </pc:sldMkLst>
      </pc:sldChg>
      <pc:sldChg chg="del">
        <pc:chgData name="Takaaki Masaki" userId="56a88eee-ec65-40f9-8642-be59fd24ba9b" providerId="ADAL" clId="{B854D024-8FF7-452B-B2F9-8E2041F90BBF}" dt="2024-04-11T03:33:37.793" v="2427" actId="47"/>
        <pc:sldMkLst>
          <pc:docMk/>
          <pc:sldMk cId="3283517966" sldId="298"/>
        </pc:sldMkLst>
      </pc:sldChg>
      <pc:sldChg chg="add del">
        <pc:chgData name="Takaaki Masaki" userId="56a88eee-ec65-40f9-8642-be59fd24ba9b" providerId="ADAL" clId="{B854D024-8FF7-452B-B2F9-8E2041F90BBF}" dt="2024-04-11T03:33:37.793" v="2427" actId="47"/>
        <pc:sldMkLst>
          <pc:docMk/>
          <pc:sldMk cId="593081023" sldId="299"/>
        </pc:sldMkLst>
      </pc:sldChg>
      <pc:sldChg chg="del">
        <pc:chgData name="Takaaki Masaki" userId="56a88eee-ec65-40f9-8642-be59fd24ba9b" providerId="ADAL" clId="{B854D024-8FF7-452B-B2F9-8E2041F90BBF}" dt="2024-04-02T04:30:34.684" v="134" actId="2696"/>
        <pc:sldMkLst>
          <pc:docMk/>
          <pc:sldMk cId="3339642416" sldId="299"/>
        </pc:sldMkLst>
      </pc:sldChg>
      <pc:sldChg chg="del">
        <pc:chgData name="Takaaki Masaki" userId="56a88eee-ec65-40f9-8642-be59fd24ba9b" providerId="ADAL" clId="{B854D024-8FF7-452B-B2F9-8E2041F90BBF}" dt="2024-04-02T04:30:34.684" v="134" actId="2696"/>
        <pc:sldMkLst>
          <pc:docMk/>
          <pc:sldMk cId="2017790741" sldId="300"/>
        </pc:sldMkLst>
      </pc:sldChg>
      <pc:sldChg chg="add del">
        <pc:chgData name="Takaaki Masaki" userId="56a88eee-ec65-40f9-8642-be59fd24ba9b" providerId="ADAL" clId="{B854D024-8FF7-452B-B2F9-8E2041F90BBF}" dt="2024-04-11T03:33:37.793" v="2427" actId="47"/>
        <pc:sldMkLst>
          <pc:docMk/>
          <pc:sldMk cId="3194738905" sldId="300"/>
        </pc:sldMkLst>
      </pc:sldChg>
      <pc:sldChg chg="add del">
        <pc:chgData name="Takaaki Masaki" userId="56a88eee-ec65-40f9-8642-be59fd24ba9b" providerId="ADAL" clId="{B854D024-8FF7-452B-B2F9-8E2041F90BBF}" dt="2024-04-11T03:33:37.793" v="2427" actId="47"/>
        <pc:sldMkLst>
          <pc:docMk/>
          <pc:sldMk cId="1077525867" sldId="301"/>
        </pc:sldMkLst>
      </pc:sldChg>
      <pc:sldChg chg="del">
        <pc:chgData name="Takaaki Masaki" userId="56a88eee-ec65-40f9-8642-be59fd24ba9b" providerId="ADAL" clId="{B854D024-8FF7-452B-B2F9-8E2041F90BBF}" dt="2024-04-02T04:30:34.684" v="134" actId="2696"/>
        <pc:sldMkLst>
          <pc:docMk/>
          <pc:sldMk cId="1200639827" sldId="301"/>
        </pc:sldMkLst>
      </pc:sldChg>
      <pc:sldChg chg="add del">
        <pc:chgData name="Takaaki Masaki" userId="56a88eee-ec65-40f9-8642-be59fd24ba9b" providerId="ADAL" clId="{B854D024-8FF7-452B-B2F9-8E2041F90BBF}" dt="2024-04-11T03:33:37.793" v="2427" actId="47"/>
        <pc:sldMkLst>
          <pc:docMk/>
          <pc:sldMk cId="173261697" sldId="302"/>
        </pc:sldMkLst>
      </pc:sldChg>
      <pc:sldChg chg="del">
        <pc:chgData name="Takaaki Masaki" userId="56a88eee-ec65-40f9-8642-be59fd24ba9b" providerId="ADAL" clId="{B854D024-8FF7-452B-B2F9-8E2041F90BBF}" dt="2024-04-02T04:30:34.684" v="134" actId="2696"/>
        <pc:sldMkLst>
          <pc:docMk/>
          <pc:sldMk cId="861466284" sldId="302"/>
        </pc:sldMkLst>
      </pc:sldChg>
      <pc:sldChg chg="del">
        <pc:chgData name="Takaaki Masaki" userId="56a88eee-ec65-40f9-8642-be59fd24ba9b" providerId="ADAL" clId="{B854D024-8FF7-452B-B2F9-8E2041F90BBF}" dt="2024-04-02T04:30:34.684" v="134" actId="2696"/>
        <pc:sldMkLst>
          <pc:docMk/>
          <pc:sldMk cId="3926047802" sldId="303"/>
        </pc:sldMkLst>
      </pc:sldChg>
      <pc:sldChg chg="add del">
        <pc:chgData name="Takaaki Masaki" userId="56a88eee-ec65-40f9-8642-be59fd24ba9b" providerId="ADAL" clId="{B854D024-8FF7-452B-B2F9-8E2041F90BBF}" dt="2024-04-11T03:33:37.793" v="2427" actId="47"/>
        <pc:sldMkLst>
          <pc:docMk/>
          <pc:sldMk cId="4143221222" sldId="303"/>
        </pc:sldMkLst>
      </pc:sldChg>
      <pc:sldChg chg="del">
        <pc:chgData name="Takaaki Masaki" userId="56a88eee-ec65-40f9-8642-be59fd24ba9b" providerId="ADAL" clId="{B854D024-8FF7-452B-B2F9-8E2041F90BBF}" dt="2024-04-02T04:30:34.684" v="134" actId="2696"/>
        <pc:sldMkLst>
          <pc:docMk/>
          <pc:sldMk cId="933917220" sldId="304"/>
        </pc:sldMkLst>
      </pc:sldChg>
      <pc:sldChg chg="add del">
        <pc:chgData name="Takaaki Masaki" userId="56a88eee-ec65-40f9-8642-be59fd24ba9b" providerId="ADAL" clId="{B854D024-8FF7-452B-B2F9-8E2041F90BBF}" dt="2024-04-11T03:33:37.793" v="2427" actId="47"/>
        <pc:sldMkLst>
          <pc:docMk/>
          <pc:sldMk cId="3672455183" sldId="304"/>
        </pc:sldMkLst>
      </pc:sldChg>
      <pc:sldChg chg="add del">
        <pc:chgData name="Takaaki Masaki" userId="56a88eee-ec65-40f9-8642-be59fd24ba9b" providerId="ADAL" clId="{B854D024-8FF7-452B-B2F9-8E2041F90BBF}" dt="2024-04-11T03:33:37.793" v="2427" actId="47"/>
        <pc:sldMkLst>
          <pc:docMk/>
          <pc:sldMk cId="1940653726" sldId="305"/>
        </pc:sldMkLst>
      </pc:sldChg>
      <pc:sldChg chg="del">
        <pc:chgData name="Takaaki Masaki" userId="56a88eee-ec65-40f9-8642-be59fd24ba9b" providerId="ADAL" clId="{B854D024-8FF7-452B-B2F9-8E2041F90BBF}" dt="2024-04-02T04:30:34.684" v="134" actId="2696"/>
        <pc:sldMkLst>
          <pc:docMk/>
          <pc:sldMk cId="3395236631" sldId="305"/>
        </pc:sldMkLst>
      </pc:sldChg>
      <pc:sldChg chg="add del">
        <pc:chgData name="Takaaki Masaki" userId="56a88eee-ec65-40f9-8642-be59fd24ba9b" providerId="ADAL" clId="{B854D024-8FF7-452B-B2F9-8E2041F90BBF}" dt="2024-04-11T03:33:37.793" v="2427" actId="47"/>
        <pc:sldMkLst>
          <pc:docMk/>
          <pc:sldMk cId="737049154" sldId="306"/>
        </pc:sldMkLst>
      </pc:sldChg>
      <pc:sldChg chg="del">
        <pc:chgData name="Takaaki Masaki" userId="56a88eee-ec65-40f9-8642-be59fd24ba9b" providerId="ADAL" clId="{B854D024-8FF7-452B-B2F9-8E2041F90BBF}" dt="2024-04-02T04:32:00.170" v="163" actId="2696"/>
        <pc:sldMkLst>
          <pc:docMk/>
          <pc:sldMk cId="3530554265" sldId="306"/>
        </pc:sldMkLst>
      </pc:sldChg>
      <pc:sldChg chg="del">
        <pc:chgData name="Takaaki Masaki" userId="56a88eee-ec65-40f9-8642-be59fd24ba9b" providerId="ADAL" clId="{B854D024-8FF7-452B-B2F9-8E2041F90BBF}" dt="2024-04-02T04:32:00.170" v="163" actId="2696"/>
        <pc:sldMkLst>
          <pc:docMk/>
          <pc:sldMk cId="2763826054" sldId="307"/>
        </pc:sldMkLst>
      </pc:sldChg>
      <pc:sldChg chg="add del">
        <pc:chgData name="Takaaki Masaki" userId="56a88eee-ec65-40f9-8642-be59fd24ba9b" providerId="ADAL" clId="{B854D024-8FF7-452B-B2F9-8E2041F90BBF}" dt="2024-04-11T03:33:37.793" v="2427" actId="47"/>
        <pc:sldMkLst>
          <pc:docMk/>
          <pc:sldMk cId="3914678627" sldId="307"/>
        </pc:sldMkLst>
      </pc:sldChg>
      <pc:sldChg chg="del">
        <pc:chgData name="Takaaki Masaki" userId="56a88eee-ec65-40f9-8642-be59fd24ba9b" providerId="ADAL" clId="{B854D024-8FF7-452B-B2F9-8E2041F90BBF}" dt="2024-04-11T03:33:37.793" v="2427" actId="47"/>
        <pc:sldMkLst>
          <pc:docMk/>
          <pc:sldMk cId="3233704736" sldId="308"/>
        </pc:sldMkLst>
      </pc:sldChg>
      <pc:sldChg chg="del">
        <pc:chgData name="Takaaki Masaki" userId="56a88eee-ec65-40f9-8642-be59fd24ba9b" providerId="ADAL" clId="{B854D024-8FF7-452B-B2F9-8E2041F90BBF}" dt="2024-04-11T03:33:37.793" v="2427" actId="47"/>
        <pc:sldMkLst>
          <pc:docMk/>
          <pc:sldMk cId="2023954067" sldId="309"/>
        </pc:sldMkLst>
      </pc:sldChg>
      <pc:sldChg chg="del">
        <pc:chgData name="Takaaki Masaki" userId="56a88eee-ec65-40f9-8642-be59fd24ba9b" providerId="ADAL" clId="{B854D024-8FF7-452B-B2F9-8E2041F90BBF}" dt="2024-04-11T03:33:37.793" v="2427" actId="47"/>
        <pc:sldMkLst>
          <pc:docMk/>
          <pc:sldMk cId="3140862157" sldId="311"/>
        </pc:sldMkLst>
      </pc:sldChg>
      <pc:sldChg chg="del">
        <pc:chgData name="Takaaki Masaki" userId="56a88eee-ec65-40f9-8642-be59fd24ba9b" providerId="ADAL" clId="{B854D024-8FF7-452B-B2F9-8E2041F90BBF}" dt="2024-04-11T03:33:37.793" v="2427" actId="47"/>
        <pc:sldMkLst>
          <pc:docMk/>
          <pc:sldMk cId="386681203" sldId="312"/>
        </pc:sldMkLst>
      </pc:sldChg>
      <pc:sldChg chg="del">
        <pc:chgData name="Takaaki Masaki" userId="56a88eee-ec65-40f9-8642-be59fd24ba9b" providerId="ADAL" clId="{B854D024-8FF7-452B-B2F9-8E2041F90BBF}" dt="2024-04-11T03:33:37.793" v="2427" actId="47"/>
        <pc:sldMkLst>
          <pc:docMk/>
          <pc:sldMk cId="2440085736" sldId="313"/>
        </pc:sldMkLst>
      </pc:sldChg>
      <pc:sldChg chg="del">
        <pc:chgData name="Takaaki Masaki" userId="56a88eee-ec65-40f9-8642-be59fd24ba9b" providerId="ADAL" clId="{B854D024-8FF7-452B-B2F9-8E2041F90BBF}" dt="2024-04-11T03:33:37.793" v="2427" actId="47"/>
        <pc:sldMkLst>
          <pc:docMk/>
          <pc:sldMk cId="2561012292" sldId="314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2819303272" sldId="315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1780522131" sldId="316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1714892408" sldId="317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710596042" sldId="318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774777105" sldId="319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1800250114" sldId="320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3081064406" sldId="321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417170624" sldId="322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924304825" sldId="323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712796959" sldId="324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2962039528" sldId="325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2382116385" sldId="326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4172093184" sldId="327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3384531833" sldId="329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586762857" sldId="330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3175117747" sldId="331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1340371423" sldId="332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205362079" sldId="333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3801842481" sldId="334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1157339580" sldId="336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2592558059" sldId="337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4007988906" sldId="338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1211257722" sldId="339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2869113427" sldId="340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4032969113" sldId="341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2976533686" sldId="342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3354946574" sldId="343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2553378438" sldId="344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2358782502" sldId="345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1411732116" sldId="346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2894643259" sldId="348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674571283" sldId="349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1982333163" sldId="350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3716336217" sldId="351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178818183" sldId="352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1568504011" sldId="353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1119758586" sldId="354"/>
        </pc:sldMkLst>
      </pc:sldChg>
      <pc:sldChg chg="add del">
        <pc:chgData name="Takaaki Masaki" userId="56a88eee-ec65-40f9-8642-be59fd24ba9b" providerId="ADAL" clId="{B854D024-8FF7-452B-B2F9-8E2041F90BBF}" dt="2024-04-11T03:33:37.793" v="2427" actId="47"/>
        <pc:sldMkLst>
          <pc:docMk/>
          <pc:sldMk cId="3339945768" sldId="355"/>
        </pc:sldMkLst>
      </pc:sldChg>
      <pc:sldChg chg="del">
        <pc:chgData name="Takaaki Masaki" userId="56a88eee-ec65-40f9-8642-be59fd24ba9b" providerId="ADAL" clId="{B854D024-8FF7-452B-B2F9-8E2041F90BBF}" dt="2024-04-02T04:30:34.684" v="134" actId="2696"/>
        <pc:sldMkLst>
          <pc:docMk/>
          <pc:sldMk cId="3906402260" sldId="355"/>
        </pc:sldMkLst>
      </pc:sldChg>
      <pc:sldChg chg="del">
        <pc:chgData name="Takaaki Masaki" userId="56a88eee-ec65-40f9-8642-be59fd24ba9b" providerId="ADAL" clId="{B854D024-8FF7-452B-B2F9-8E2041F90BBF}" dt="2024-04-02T04:30:34.684" v="134" actId="2696"/>
        <pc:sldMkLst>
          <pc:docMk/>
          <pc:sldMk cId="3788053049" sldId="356"/>
        </pc:sldMkLst>
      </pc:sldChg>
      <pc:sldChg chg="add del">
        <pc:chgData name="Takaaki Masaki" userId="56a88eee-ec65-40f9-8642-be59fd24ba9b" providerId="ADAL" clId="{B854D024-8FF7-452B-B2F9-8E2041F90BBF}" dt="2024-04-11T03:33:37.793" v="2427" actId="47"/>
        <pc:sldMkLst>
          <pc:docMk/>
          <pc:sldMk cId="3951927640" sldId="356"/>
        </pc:sldMkLst>
      </pc:sldChg>
      <pc:sldChg chg="add del">
        <pc:chgData name="Takaaki Masaki" userId="56a88eee-ec65-40f9-8642-be59fd24ba9b" providerId="ADAL" clId="{B854D024-8FF7-452B-B2F9-8E2041F90BBF}" dt="2024-04-11T03:33:37.793" v="2427" actId="47"/>
        <pc:sldMkLst>
          <pc:docMk/>
          <pc:sldMk cId="1402734748" sldId="357"/>
        </pc:sldMkLst>
      </pc:sldChg>
      <pc:sldChg chg="del">
        <pc:chgData name="Takaaki Masaki" userId="56a88eee-ec65-40f9-8642-be59fd24ba9b" providerId="ADAL" clId="{B854D024-8FF7-452B-B2F9-8E2041F90BBF}" dt="2024-04-02T04:30:34.684" v="134" actId="2696"/>
        <pc:sldMkLst>
          <pc:docMk/>
          <pc:sldMk cId="3230501836" sldId="357"/>
        </pc:sldMkLst>
      </pc:sldChg>
      <pc:sldChg chg="delSp modSp mod">
        <pc:chgData name="Takaaki Masaki" userId="56a88eee-ec65-40f9-8642-be59fd24ba9b" providerId="ADAL" clId="{B854D024-8FF7-452B-B2F9-8E2041F90BBF}" dt="2024-04-11T01:45:53.236" v="2305" actId="478"/>
        <pc:sldMkLst>
          <pc:docMk/>
          <pc:sldMk cId="3918405635" sldId="358"/>
        </pc:sldMkLst>
        <pc:spChg chg="mod">
          <ac:chgData name="Takaaki Masaki" userId="56a88eee-ec65-40f9-8642-be59fd24ba9b" providerId="ADAL" clId="{B854D024-8FF7-452B-B2F9-8E2041F90BBF}" dt="2024-04-02T01:54:09.312" v="91" actId="20577"/>
          <ac:spMkLst>
            <pc:docMk/>
            <pc:sldMk cId="3918405635" sldId="358"/>
            <ac:spMk id="2" creationId="{E01226A3-FD12-4BA7-ABF5-9D408688073E}"/>
          </ac:spMkLst>
        </pc:spChg>
        <pc:spChg chg="del">
          <ac:chgData name="Takaaki Masaki" userId="56a88eee-ec65-40f9-8642-be59fd24ba9b" providerId="ADAL" clId="{B854D024-8FF7-452B-B2F9-8E2041F90BBF}" dt="2024-04-11T01:45:53.236" v="2305" actId="478"/>
          <ac:spMkLst>
            <pc:docMk/>
            <pc:sldMk cId="3918405635" sldId="358"/>
            <ac:spMk id="4" creationId="{1EE6E14C-DFEC-4A41-972C-3C099E1C11EF}"/>
          </ac:spMkLst>
        </pc:spChg>
      </pc:sldChg>
      <pc:sldChg chg="del">
        <pc:chgData name="Takaaki Masaki" userId="56a88eee-ec65-40f9-8642-be59fd24ba9b" providerId="ADAL" clId="{B854D024-8FF7-452B-B2F9-8E2041F90BBF}" dt="2024-04-11T03:25:26.569" v="2318" actId="47"/>
        <pc:sldMkLst>
          <pc:docMk/>
          <pc:sldMk cId="3425921230" sldId="361"/>
        </pc:sldMkLst>
      </pc:sldChg>
      <pc:sldChg chg="addSp delSp modSp del mod">
        <pc:chgData name="Takaaki Masaki" userId="56a88eee-ec65-40f9-8642-be59fd24ba9b" providerId="ADAL" clId="{B854D024-8FF7-452B-B2F9-8E2041F90BBF}" dt="2024-04-16T01:36:42.261" v="5678" actId="2696"/>
        <pc:sldMkLst>
          <pc:docMk/>
          <pc:sldMk cId="53829710" sldId="362"/>
        </pc:sldMkLst>
        <pc:spChg chg="mod">
          <ac:chgData name="Takaaki Masaki" userId="56a88eee-ec65-40f9-8642-be59fd24ba9b" providerId="ADAL" clId="{B854D024-8FF7-452B-B2F9-8E2041F90BBF}" dt="2024-04-16T01:36:25.469" v="5677" actId="20577"/>
          <ac:spMkLst>
            <pc:docMk/>
            <pc:sldMk cId="53829710" sldId="362"/>
            <ac:spMk id="2" creationId="{BD1B06A8-1D0D-4F0B-980A-A14461073483}"/>
          </ac:spMkLst>
        </pc:spChg>
        <pc:spChg chg="add del">
          <ac:chgData name="Takaaki Masaki" userId="56a88eee-ec65-40f9-8642-be59fd24ba9b" providerId="ADAL" clId="{B854D024-8FF7-452B-B2F9-8E2041F90BBF}" dt="2024-04-11T01:44:10.992" v="2186" actId="22"/>
          <ac:spMkLst>
            <pc:docMk/>
            <pc:sldMk cId="53829710" sldId="362"/>
            <ac:spMk id="4" creationId="{9F33E31C-A3C7-962E-F69D-CB36C758E6B1}"/>
          </ac:spMkLst>
        </pc:spChg>
        <pc:spChg chg="add mod">
          <ac:chgData name="Takaaki Masaki" userId="56a88eee-ec65-40f9-8642-be59fd24ba9b" providerId="ADAL" clId="{B854D024-8FF7-452B-B2F9-8E2041F90BBF}" dt="2024-04-11T01:45:46.319" v="2304" actId="1076"/>
          <ac:spMkLst>
            <pc:docMk/>
            <pc:sldMk cId="53829710" sldId="362"/>
            <ac:spMk id="9" creationId="{8679CAA1-FC63-0AE8-7C8B-4E27B44281CB}"/>
          </ac:spMkLst>
        </pc:spChg>
        <pc:picChg chg="del">
          <ac:chgData name="Takaaki Masaki" userId="56a88eee-ec65-40f9-8642-be59fd24ba9b" providerId="ADAL" clId="{B854D024-8FF7-452B-B2F9-8E2041F90BBF}" dt="2024-04-11T01:40:37.170" v="2167" actId="478"/>
          <ac:picMkLst>
            <pc:docMk/>
            <pc:sldMk cId="53829710" sldId="362"/>
            <ac:picMk id="6" creationId="{047CDA6B-DB73-4FE0-ABF6-FD371435576A}"/>
          </ac:picMkLst>
        </pc:picChg>
        <pc:picChg chg="add mod">
          <ac:chgData name="Takaaki Masaki" userId="56a88eee-ec65-40f9-8642-be59fd24ba9b" providerId="ADAL" clId="{B854D024-8FF7-452B-B2F9-8E2041F90BBF}" dt="2024-04-11T01:45:41.187" v="2302" actId="1076"/>
          <ac:picMkLst>
            <pc:docMk/>
            <pc:sldMk cId="53829710" sldId="362"/>
            <ac:picMk id="1026" creationId="{236D83F9-59DA-BDEC-B0F6-570DC130A863}"/>
          </ac:picMkLst>
        </pc:picChg>
      </pc:sldChg>
      <pc:sldChg chg="add">
        <pc:chgData name="Takaaki Masaki" userId="56a88eee-ec65-40f9-8642-be59fd24ba9b" providerId="ADAL" clId="{B854D024-8FF7-452B-B2F9-8E2041F90BBF}" dt="2024-04-16T01:36:45.553" v="5679"/>
        <pc:sldMkLst>
          <pc:docMk/>
          <pc:sldMk cId="2702912933" sldId="362"/>
        </pc:sldMkLst>
      </pc:sldChg>
      <pc:sldChg chg="del">
        <pc:chgData name="Takaaki Masaki" userId="56a88eee-ec65-40f9-8642-be59fd24ba9b" providerId="ADAL" clId="{B854D024-8FF7-452B-B2F9-8E2041F90BBF}" dt="2024-04-11T03:33:37.793" v="2427" actId="47"/>
        <pc:sldMkLst>
          <pc:docMk/>
          <pc:sldMk cId="2248430675" sldId="363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4122011094" sldId="365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4043904794" sldId="366"/>
        </pc:sldMkLst>
      </pc:sldChg>
      <pc:sldChg chg="add del">
        <pc:chgData name="Takaaki Masaki" userId="56a88eee-ec65-40f9-8642-be59fd24ba9b" providerId="ADAL" clId="{B854D024-8FF7-452B-B2F9-8E2041F90BBF}" dt="2024-04-11T03:33:37.793" v="2427" actId="47"/>
        <pc:sldMkLst>
          <pc:docMk/>
          <pc:sldMk cId="1295440831" sldId="367"/>
        </pc:sldMkLst>
      </pc:sldChg>
      <pc:sldChg chg="del">
        <pc:chgData name="Takaaki Masaki" userId="56a88eee-ec65-40f9-8642-be59fd24ba9b" providerId="ADAL" clId="{B854D024-8FF7-452B-B2F9-8E2041F90BBF}" dt="2024-04-02T04:32:00.170" v="163" actId="2696"/>
        <pc:sldMkLst>
          <pc:docMk/>
          <pc:sldMk cId="2209748277" sldId="367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1632203755" sldId="368"/>
        </pc:sldMkLst>
      </pc:sldChg>
      <pc:sldChg chg="modSp new del mod">
        <pc:chgData name="Takaaki Masaki" userId="56a88eee-ec65-40f9-8642-be59fd24ba9b" providerId="ADAL" clId="{B854D024-8FF7-452B-B2F9-8E2041F90BBF}" dt="2024-04-08T01:16:35.466" v="1336" actId="47"/>
        <pc:sldMkLst>
          <pc:docMk/>
          <pc:sldMk cId="3690197123" sldId="368"/>
        </pc:sldMkLst>
        <pc:spChg chg="mod">
          <ac:chgData name="Takaaki Masaki" userId="56a88eee-ec65-40f9-8642-be59fd24ba9b" providerId="ADAL" clId="{B854D024-8FF7-452B-B2F9-8E2041F90BBF}" dt="2024-04-02T01:53:33.607" v="84" actId="1076"/>
          <ac:spMkLst>
            <pc:docMk/>
            <pc:sldMk cId="3690197123" sldId="368"/>
            <ac:spMk id="2" creationId="{C8B9D152-58AC-5A3A-298B-64C6ADA37456}"/>
          </ac:spMkLst>
        </pc:spChg>
      </pc:sldChg>
      <pc:sldChg chg="addSp delSp modSp add mod">
        <pc:chgData name="Takaaki Masaki" userId="56a88eee-ec65-40f9-8642-be59fd24ba9b" providerId="ADAL" clId="{B854D024-8FF7-452B-B2F9-8E2041F90BBF}" dt="2024-04-16T01:23:20.029" v="5467" actId="20577"/>
        <pc:sldMkLst>
          <pc:docMk/>
          <pc:sldMk cId="1601593105" sldId="369"/>
        </pc:sldMkLst>
        <pc:spChg chg="mod">
          <ac:chgData name="Takaaki Masaki" userId="56a88eee-ec65-40f9-8642-be59fd24ba9b" providerId="ADAL" clId="{B854D024-8FF7-452B-B2F9-8E2041F90BBF}" dt="2024-04-16T01:23:20.029" v="5467" actId="20577"/>
          <ac:spMkLst>
            <pc:docMk/>
            <pc:sldMk cId="1601593105" sldId="369"/>
            <ac:spMk id="2" creationId="{C8B9D152-58AC-5A3A-298B-64C6ADA37456}"/>
          </ac:spMkLst>
        </pc:spChg>
        <pc:spChg chg="mod">
          <ac:chgData name="Takaaki Masaki" userId="56a88eee-ec65-40f9-8642-be59fd24ba9b" providerId="ADAL" clId="{B854D024-8FF7-452B-B2F9-8E2041F90BBF}" dt="2024-04-08T01:37:23.201" v="1461" actId="20577"/>
          <ac:spMkLst>
            <pc:docMk/>
            <pc:sldMk cId="1601593105" sldId="369"/>
            <ac:spMk id="3" creationId="{E768A0A2-3C71-0906-94BC-4F491BDAE061}"/>
          </ac:spMkLst>
        </pc:spChg>
        <pc:spChg chg="add del mod">
          <ac:chgData name="Takaaki Masaki" userId="56a88eee-ec65-40f9-8642-be59fd24ba9b" providerId="ADAL" clId="{B854D024-8FF7-452B-B2F9-8E2041F90BBF}" dt="2024-04-11T01:39:13.393" v="2115" actId="478"/>
          <ac:spMkLst>
            <pc:docMk/>
            <pc:sldMk cId="1601593105" sldId="369"/>
            <ac:spMk id="7" creationId="{540D29F3-BDCD-1BE4-5F7A-361CBB92DD82}"/>
          </ac:spMkLst>
        </pc:spChg>
        <pc:picChg chg="add del mod">
          <ac:chgData name="Takaaki Masaki" userId="56a88eee-ec65-40f9-8642-be59fd24ba9b" providerId="ADAL" clId="{B854D024-8FF7-452B-B2F9-8E2041F90BBF}" dt="2024-04-08T01:37:08.415" v="1457" actId="21"/>
          <ac:picMkLst>
            <pc:docMk/>
            <pc:sldMk cId="1601593105" sldId="369"/>
            <ac:picMk id="6" creationId="{20B55AB3-CED4-9EBB-861F-D6C26FD4D7A5}"/>
          </ac:picMkLst>
        </pc:picChg>
        <pc:picChg chg="add mod">
          <ac:chgData name="Takaaki Masaki" userId="56a88eee-ec65-40f9-8642-be59fd24ba9b" providerId="ADAL" clId="{B854D024-8FF7-452B-B2F9-8E2041F90BBF}" dt="2024-04-11T01:39:47.459" v="2119" actId="1076"/>
          <ac:picMkLst>
            <pc:docMk/>
            <pc:sldMk cId="1601593105" sldId="369"/>
            <ac:picMk id="8" creationId="{ED53540A-7A6C-F8F1-B228-0D87780F33E2}"/>
          </ac:picMkLst>
        </pc:picChg>
      </pc:sldChg>
      <pc:sldChg chg="modSp new del mod">
        <pc:chgData name="Takaaki Masaki" userId="56a88eee-ec65-40f9-8642-be59fd24ba9b" providerId="ADAL" clId="{B854D024-8FF7-452B-B2F9-8E2041F90BBF}" dt="2024-04-11T03:33:37.793" v="2427" actId="47"/>
        <pc:sldMkLst>
          <pc:docMk/>
          <pc:sldMk cId="3839835046" sldId="370"/>
        </pc:sldMkLst>
        <pc:spChg chg="mod">
          <ac:chgData name="Takaaki Masaki" userId="56a88eee-ec65-40f9-8642-be59fd24ba9b" providerId="ADAL" clId="{B854D024-8FF7-452B-B2F9-8E2041F90BBF}" dt="2024-04-02T04:30:41.811" v="143" actId="20577"/>
          <ac:spMkLst>
            <pc:docMk/>
            <pc:sldMk cId="3839835046" sldId="370"/>
            <ac:spMk id="2" creationId="{11F3D673-23F7-8542-A7C5-1E36DF2E332F}"/>
          </ac:spMkLst>
        </pc:spChg>
      </pc:sldChg>
      <pc:sldChg chg="modSp new del mod">
        <pc:chgData name="Takaaki Masaki" userId="56a88eee-ec65-40f9-8642-be59fd24ba9b" providerId="ADAL" clId="{B854D024-8FF7-452B-B2F9-8E2041F90BBF}" dt="2024-04-11T03:33:37.793" v="2427" actId="47"/>
        <pc:sldMkLst>
          <pc:docMk/>
          <pc:sldMk cId="2431564066" sldId="371"/>
        </pc:sldMkLst>
        <pc:spChg chg="mod">
          <ac:chgData name="Takaaki Masaki" userId="56a88eee-ec65-40f9-8642-be59fd24ba9b" providerId="ADAL" clId="{B854D024-8FF7-452B-B2F9-8E2041F90BBF}" dt="2024-04-02T04:30:59.918" v="161" actId="20577"/>
          <ac:spMkLst>
            <pc:docMk/>
            <pc:sldMk cId="2431564066" sldId="371"/>
            <ac:spMk id="2" creationId="{A1364717-9A16-1BA0-F61D-0CF429D6D9D0}"/>
          </ac:spMkLst>
        </pc:spChg>
      </pc:sldChg>
      <pc:sldChg chg="new del">
        <pc:chgData name="Takaaki Masaki" userId="56a88eee-ec65-40f9-8642-be59fd24ba9b" providerId="ADAL" clId="{B854D024-8FF7-452B-B2F9-8E2041F90BBF}" dt="2024-04-02T04:32:33.458" v="166" actId="47"/>
        <pc:sldMkLst>
          <pc:docMk/>
          <pc:sldMk cId="1744320842" sldId="372"/>
        </pc:sldMkLst>
      </pc:sldChg>
      <pc:sldChg chg="modSp add del mod">
        <pc:chgData name="Takaaki Masaki" userId="56a88eee-ec65-40f9-8642-be59fd24ba9b" providerId="ADAL" clId="{B854D024-8FF7-452B-B2F9-8E2041F90BBF}" dt="2024-04-02T04:32:58.467" v="185" actId="47"/>
        <pc:sldMkLst>
          <pc:docMk/>
          <pc:sldMk cId="1975174664" sldId="372"/>
        </pc:sldMkLst>
        <pc:spChg chg="mod">
          <ac:chgData name="Takaaki Masaki" userId="56a88eee-ec65-40f9-8642-be59fd24ba9b" providerId="ADAL" clId="{B854D024-8FF7-452B-B2F9-8E2041F90BBF}" dt="2024-04-02T04:32:55.788" v="184" actId="20577"/>
          <ac:spMkLst>
            <pc:docMk/>
            <pc:sldMk cId="1975174664" sldId="372"/>
            <ac:spMk id="2" creationId="{18772FE0-9CC7-8E4F-A04D-DFD4A2C11F45}"/>
          </ac:spMkLst>
        </pc:spChg>
      </pc:sldChg>
      <pc:sldChg chg="addSp delSp modSp add mod modNotesTx">
        <pc:chgData name="Takaaki Masaki" userId="56a88eee-ec65-40f9-8642-be59fd24ba9b" providerId="ADAL" clId="{B854D024-8FF7-452B-B2F9-8E2041F90BBF}" dt="2024-04-08T02:58:58.039" v="2079" actId="20577"/>
        <pc:sldMkLst>
          <pc:docMk/>
          <pc:sldMk cId="2152984646" sldId="372"/>
        </pc:sldMkLst>
        <pc:spChg chg="mod">
          <ac:chgData name="Takaaki Masaki" userId="56a88eee-ec65-40f9-8642-be59fd24ba9b" providerId="ADAL" clId="{B854D024-8FF7-452B-B2F9-8E2041F90BBF}" dt="2024-04-02T04:33:22.530" v="190" actId="20577"/>
          <ac:spMkLst>
            <pc:docMk/>
            <pc:sldMk cId="2152984646" sldId="372"/>
            <ac:spMk id="2" creationId="{18772FE0-9CC7-8E4F-A04D-DFD4A2C11F45}"/>
          </ac:spMkLst>
        </pc:spChg>
        <pc:spChg chg="add del mod">
          <ac:chgData name="Takaaki Masaki" userId="56a88eee-ec65-40f9-8642-be59fd24ba9b" providerId="ADAL" clId="{B854D024-8FF7-452B-B2F9-8E2041F90BBF}" dt="2024-04-02T04:54:28.410" v="198" actId="478"/>
          <ac:spMkLst>
            <pc:docMk/>
            <pc:sldMk cId="2152984646" sldId="372"/>
            <ac:spMk id="3" creationId="{28E96DFB-5746-B7BA-1B27-78D4BF8E6A8E}"/>
          </ac:spMkLst>
        </pc:spChg>
        <pc:spChg chg="del">
          <ac:chgData name="Takaaki Masaki" userId="56a88eee-ec65-40f9-8642-be59fd24ba9b" providerId="ADAL" clId="{B854D024-8FF7-452B-B2F9-8E2041F90BBF}" dt="2024-04-02T04:33:26.167" v="192" actId="478"/>
          <ac:spMkLst>
            <pc:docMk/>
            <pc:sldMk cId="2152984646" sldId="372"/>
            <ac:spMk id="10" creationId="{DDD61ABB-EBDC-FA49-AD27-5698C4A92B75}"/>
          </ac:spMkLst>
        </pc:spChg>
        <pc:graphicFrameChg chg="add mod modGraphic">
          <ac:chgData name="Takaaki Masaki" userId="56a88eee-ec65-40f9-8642-be59fd24ba9b" providerId="ADAL" clId="{B854D024-8FF7-452B-B2F9-8E2041F90BBF}" dt="2024-04-08T02:58:58.039" v="2079" actId="20577"/>
          <ac:graphicFrameMkLst>
            <pc:docMk/>
            <pc:sldMk cId="2152984646" sldId="372"/>
            <ac:graphicFrameMk id="4" creationId="{BD8B132E-2CD0-E947-E309-6554B4B2688A}"/>
          </ac:graphicFrameMkLst>
        </pc:graphicFrameChg>
        <pc:picChg chg="del">
          <ac:chgData name="Takaaki Masaki" userId="56a88eee-ec65-40f9-8642-be59fd24ba9b" providerId="ADAL" clId="{B854D024-8FF7-452B-B2F9-8E2041F90BBF}" dt="2024-04-02T04:33:28.201" v="193" actId="478"/>
          <ac:picMkLst>
            <pc:docMk/>
            <pc:sldMk cId="2152984646" sldId="372"/>
            <ac:picMk id="6" creationId="{32A9E99F-C52D-2947-833A-651D1C84416C}"/>
          </ac:picMkLst>
        </pc:picChg>
        <pc:picChg chg="del">
          <ac:chgData name="Takaaki Masaki" userId="56a88eee-ec65-40f9-8642-be59fd24ba9b" providerId="ADAL" clId="{B854D024-8FF7-452B-B2F9-8E2041F90BBF}" dt="2024-04-02T04:33:23.961" v="191" actId="478"/>
          <ac:picMkLst>
            <pc:docMk/>
            <pc:sldMk cId="2152984646" sldId="372"/>
            <ac:picMk id="9" creationId="{D8DE2264-331A-014E-A9B5-36BF2F5A661A}"/>
          </ac:picMkLst>
        </pc:picChg>
      </pc:sldChg>
      <pc:sldChg chg="new del">
        <pc:chgData name="Takaaki Masaki" userId="56a88eee-ec65-40f9-8642-be59fd24ba9b" providerId="ADAL" clId="{B854D024-8FF7-452B-B2F9-8E2041F90BBF}" dt="2024-04-02T04:32:43.087" v="168" actId="2696"/>
        <pc:sldMkLst>
          <pc:docMk/>
          <pc:sldMk cId="3190321186" sldId="372"/>
        </pc:sldMkLst>
      </pc:sldChg>
      <pc:sldChg chg="addSp modSp add mod addCm delCm modCm">
        <pc:chgData name="Takaaki Masaki" userId="56a88eee-ec65-40f9-8642-be59fd24ba9b" providerId="ADAL" clId="{B854D024-8FF7-452B-B2F9-8E2041F90BBF}" dt="2024-04-11T05:37:59.705" v="4376"/>
        <pc:sldMkLst>
          <pc:docMk/>
          <pc:sldMk cId="2208884573" sldId="373"/>
        </pc:sldMkLst>
        <pc:spChg chg="add mod">
          <ac:chgData name="Takaaki Masaki" userId="56a88eee-ec65-40f9-8642-be59fd24ba9b" providerId="ADAL" clId="{B854D024-8FF7-452B-B2F9-8E2041F90BBF}" dt="2024-04-09T02:34:20.417" v="2113" actId="20577"/>
          <ac:spMkLst>
            <pc:docMk/>
            <pc:sldMk cId="2208884573" sldId="373"/>
            <ac:spMk id="3" creationId="{35687254-75A8-3D93-A988-32C7B33F1C6E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 del mod">
              <pc226:chgData name="Takaaki Masaki" userId="56a88eee-ec65-40f9-8642-be59fd24ba9b" providerId="ADAL" clId="{B854D024-8FF7-452B-B2F9-8E2041F90BBF}" dt="2024-04-11T05:37:59.705" v="4376"/>
              <pc2:cmMkLst xmlns:pc2="http://schemas.microsoft.com/office/powerpoint/2019/9/main/command">
                <pc:docMk/>
                <pc:sldMk cId="2208884573" sldId="373"/>
                <pc2:cmMk id="{7BD5AC02-09F7-4012-A700-2175F8DAC339}"/>
              </pc2:cmMkLst>
            </pc226:cmChg>
          </p:ext>
        </pc:extLst>
      </pc:sldChg>
      <pc:sldChg chg="add del">
        <pc:chgData name="Takaaki Masaki" userId="56a88eee-ec65-40f9-8642-be59fd24ba9b" providerId="ADAL" clId="{B854D024-8FF7-452B-B2F9-8E2041F90BBF}" dt="2024-04-09T02:34:33.916" v="2114" actId="47"/>
        <pc:sldMkLst>
          <pc:docMk/>
          <pc:sldMk cId="531688885" sldId="374"/>
        </pc:sldMkLst>
      </pc:sldChg>
      <pc:sldChg chg="addSp delSp modSp new mod">
        <pc:chgData name="Takaaki Masaki" userId="56a88eee-ec65-40f9-8642-be59fd24ba9b" providerId="ADAL" clId="{B854D024-8FF7-452B-B2F9-8E2041F90BBF}" dt="2024-04-08T01:37:15.495" v="1460" actId="14100"/>
        <pc:sldMkLst>
          <pc:docMk/>
          <pc:sldMk cId="435072265" sldId="375"/>
        </pc:sldMkLst>
        <pc:spChg chg="mod">
          <ac:chgData name="Takaaki Masaki" userId="56a88eee-ec65-40f9-8642-be59fd24ba9b" providerId="ADAL" clId="{B854D024-8FF7-452B-B2F9-8E2041F90BBF}" dt="2024-04-08T01:23:48.129" v="1439" actId="1076"/>
          <ac:spMkLst>
            <pc:docMk/>
            <pc:sldMk cId="435072265" sldId="375"/>
            <ac:spMk id="2" creationId="{251BFEA5-E3BD-F66C-3D9D-9E4BFE3436A1}"/>
          </ac:spMkLst>
        </pc:spChg>
        <pc:spChg chg="mod">
          <ac:chgData name="Takaaki Masaki" userId="56a88eee-ec65-40f9-8642-be59fd24ba9b" providerId="ADAL" clId="{B854D024-8FF7-452B-B2F9-8E2041F90BBF}" dt="2024-04-08T01:37:15.495" v="1460" actId="14100"/>
          <ac:spMkLst>
            <pc:docMk/>
            <pc:sldMk cId="435072265" sldId="375"/>
            <ac:spMk id="3" creationId="{B7F0B3CF-5933-8DA2-CB89-697D2CFC46EF}"/>
          </ac:spMkLst>
        </pc:spChg>
        <pc:picChg chg="add del mod">
          <ac:chgData name="Takaaki Masaki" userId="56a88eee-ec65-40f9-8642-be59fd24ba9b" providerId="ADAL" clId="{B854D024-8FF7-452B-B2F9-8E2041F90BBF}" dt="2024-04-08T01:36:42.039" v="1450" actId="21"/>
          <ac:picMkLst>
            <pc:docMk/>
            <pc:sldMk cId="435072265" sldId="375"/>
            <ac:picMk id="7" creationId="{74CBEAD9-A4AD-8EBB-A12F-2AC204EA0708}"/>
          </ac:picMkLst>
        </pc:picChg>
        <pc:picChg chg="add mod">
          <ac:chgData name="Takaaki Masaki" userId="56a88eee-ec65-40f9-8642-be59fd24ba9b" providerId="ADAL" clId="{B854D024-8FF7-452B-B2F9-8E2041F90BBF}" dt="2024-04-08T01:37:12.318" v="1459" actId="1076"/>
          <ac:picMkLst>
            <pc:docMk/>
            <pc:sldMk cId="435072265" sldId="375"/>
            <ac:picMk id="8" creationId="{12A3F548-F87F-6D51-9F24-DCA95AE8103F}"/>
          </ac:picMkLst>
        </pc:picChg>
      </pc:sldChg>
      <pc:sldChg chg="addSp delSp modSp new mod">
        <pc:chgData name="Takaaki Masaki" userId="56a88eee-ec65-40f9-8642-be59fd24ba9b" providerId="ADAL" clId="{B854D024-8FF7-452B-B2F9-8E2041F90BBF}" dt="2024-04-08T01:43:03.178" v="1530" actId="20577"/>
        <pc:sldMkLst>
          <pc:docMk/>
          <pc:sldMk cId="379973314" sldId="376"/>
        </pc:sldMkLst>
        <pc:spChg chg="del">
          <ac:chgData name="Takaaki Masaki" userId="56a88eee-ec65-40f9-8642-be59fd24ba9b" providerId="ADAL" clId="{B854D024-8FF7-452B-B2F9-8E2041F90BBF}" dt="2024-04-08T01:42:09.035" v="1518" actId="478"/>
          <ac:spMkLst>
            <pc:docMk/>
            <pc:sldMk cId="379973314" sldId="376"/>
            <ac:spMk id="2" creationId="{86A6072E-FFEF-0DB1-B6A1-EA6477595963}"/>
          </ac:spMkLst>
        </pc:spChg>
        <pc:spChg chg="del">
          <ac:chgData name="Takaaki Masaki" userId="56a88eee-ec65-40f9-8642-be59fd24ba9b" providerId="ADAL" clId="{B854D024-8FF7-452B-B2F9-8E2041F90BBF}" dt="2024-04-08T01:41:36.198" v="1512" actId="22"/>
          <ac:spMkLst>
            <pc:docMk/>
            <pc:sldMk cId="379973314" sldId="376"/>
            <ac:spMk id="3" creationId="{F33E71F9-5AC6-A367-A551-A156A3F94CA5}"/>
          </ac:spMkLst>
        </pc:spChg>
        <pc:spChg chg="add mod">
          <ac:chgData name="Takaaki Masaki" userId="56a88eee-ec65-40f9-8642-be59fd24ba9b" providerId="ADAL" clId="{B854D024-8FF7-452B-B2F9-8E2041F90BBF}" dt="2024-04-08T01:43:03.178" v="1530" actId="20577"/>
          <ac:spMkLst>
            <pc:docMk/>
            <pc:sldMk cId="379973314" sldId="376"/>
            <ac:spMk id="8" creationId="{DE2C9ECC-51C8-CC77-DA46-234702AA3CE7}"/>
          </ac:spMkLst>
        </pc:spChg>
        <pc:picChg chg="add mod ord">
          <ac:chgData name="Takaaki Masaki" userId="56a88eee-ec65-40f9-8642-be59fd24ba9b" providerId="ADAL" clId="{B854D024-8FF7-452B-B2F9-8E2041F90BBF}" dt="2024-04-08T01:42:13.942" v="1519" actId="1076"/>
          <ac:picMkLst>
            <pc:docMk/>
            <pc:sldMk cId="379973314" sldId="376"/>
            <ac:picMk id="7" creationId="{C57B807A-35FF-17E8-DA4E-A5C15859FD0D}"/>
          </ac:picMkLst>
        </pc:picChg>
      </pc:sldChg>
      <pc:sldChg chg="addSp delSp modSp add mod">
        <pc:chgData name="Takaaki Masaki" userId="56a88eee-ec65-40f9-8642-be59fd24ba9b" providerId="ADAL" clId="{B854D024-8FF7-452B-B2F9-8E2041F90BBF}" dt="2024-04-16T06:30:53.891" v="7901" actId="14100"/>
        <pc:sldMkLst>
          <pc:docMk/>
          <pc:sldMk cId="937766100" sldId="377"/>
        </pc:sldMkLst>
        <pc:spChg chg="add mod">
          <ac:chgData name="Takaaki Masaki" userId="56a88eee-ec65-40f9-8642-be59fd24ba9b" providerId="ADAL" clId="{B854D024-8FF7-452B-B2F9-8E2041F90BBF}" dt="2024-04-16T06:30:53.891" v="7901" actId="14100"/>
          <ac:spMkLst>
            <pc:docMk/>
            <pc:sldMk cId="937766100" sldId="377"/>
            <ac:spMk id="4" creationId="{06E0ED6C-978B-6E84-EB24-287EF0321947}"/>
          </ac:spMkLst>
        </pc:spChg>
        <pc:spChg chg="del">
          <ac:chgData name="Takaaki Masaki" userId="56a88eee-ec65-40f9-8642-be59fd24ba9b" providerId="ADAL" clId="{B854D024-8FF7-452B-B2F9-8E2041F90BBF}" dt="2024-04-11T01:46:45.456" v="2309" actId="478"/>
          <ac:spMkLst>
            <pc:docMk/>
            <pc:sldMk cId="937766100" sldId="377"/>
            <ac:spMk id="6" creationId="{E646D711-9F9D-134B-A368-2784845AFDAB}"/>
          </ac:spMkLst>
        </pc:spChg>
        <pc:spChg chg="del">
          <ac:chgData name="Takaaki Masaki" userId="56a88eee-ec65-40f9-8642-be59fd24ba9b" providerId="ADAL" clId="{B854D024-8FF7-452B-B2F9-8E2041F90BBF}" dt="2024-04-11T01:46:45.456" v="2309" actId="478"/>
          <ac:spMkLst>
            <pc:docMk/>
            <pc:sldMk cId="937766100" sldId="377"/>
            <ac:spMk id="7" creationId="{F8DCAB6B-7F21-914E-AEF1-12ABB1CA0813}"/>
          </ac:spMkLst>
        </pc:spChg>
        <pc:spChg chg="del">
          <ac:chgData name="Takaaki Masaki" userId="56a88eee-ec65-40f9-8642-be59fd24ba9b" providerId="ADAL" clId="{B854D024-8FF7-452B-B2F9-8E2041F90BBF}" dt="2024-04-11T01:46:45.456" v="2309" actId="478"/>
          <ac:spMkLst>
            <pc:docMk/>
            <pc:sldMk cId="937766100" sldId="377"/>
            <ac:spMk id="8" creationId="{D33190D0-C22E-0244-8462-91E91FAC6E23}"/>
          </ac:spMkLst>
        </pc:spChg>
        <pc:spChg chg="del">
          <ac:chgData name="Takaaki Masaki" userId="56a88eee-ec65-40f9-8642-be59fd24ba9b" providerId="ADAL" clId="{B854D024-8FF7-452B-B2F9-8E2041F90BBF}" dt="2024-04-11T01:46:45.456" v="2309" actId="478"/>
          <ac:spMkLst>
            <pc:docMk/>
            <pc:sldMk cId="937766100" sldId="377"/>
            <ac:spMk id="9" creationId="{8940C686-0F99-5347-8B23-1190803EE226}"/>
          </ac:spMkLst>
        </pc:spChg>
        <pc:spChg chg="del">
          <ac:chgData name="Takaaki Masaki" userId="56a88eee-ec65-40f9-8642-be59fd24ba9b" providerId="ADAL" clId="{B854D024-8FF7-452B-B2F9-8E2041F90BBF}" dt="2024-04-11T01:46:45.456" v="2309" actId="478"/>
          <ac:spMkLst>
            <pc:docMk/>
            <pc:sldMk cId="937766100" sldId="377"/>
            <ac:spMk id="10" creationId="{216AAD36-0F68-4641-BC98-14E6E1C0A2D9}"/>
          </ac:spMkLst>
        </pc:spChg>
        <pc:spChg chg="del">
          <ac:chgData name="Takaaki Masaki" userId="56a88eee-ec65-40f9-8642-be59fd24ba9b" providerId="ADAL" clId="{B854D024-8FF7-452B-B2F9-8E2041F90BBF}" dt="2024-04-11T01:46:45.456" v="2309" actId="478"/>
          <ac:spMkLst>
            <pc:docMk/>
            <pc:sldMk cId="937766100" sldId="377"/>
            <ac:spMk id="31" creationId="{46856D70-A0FB-D440-A34C-B608A10BE677}"/>
          </ac:spMkLst>
        </pc:spChg>
        <pc:picChg chg="del">
          <ac:chgData name="Takaaki Masaki" userId="56a88eee-ec65-40f9-8642-be59fd24ba9b" providerId="ADAL" clId="{B854D024-8FF7-452B-B2F9-8E2041F90BBF}" dt="2024-04-11T01:46:45.456" v="2309" actId="478"/>
          <ac:picMkLst>
            <pc:docMk/>
            <pc:sldMk cId="937766100" sldId="377"/>
            <ac:picMk id="22" creationId="{F04F8952-6327-994E-9CB3-70EDDEAC1D12}"/>
          </ac:picMkLst>
        </pc:picChg>
        <pc:picChg chg="del">
          <ac:chgData name="Takaaki Masaki" userId="56a88eee-ec65-40f9-8642-be59fd24ba9b" providerId="ADAL" clId="{B854D024-8FF7-452B-B2F9-8E2041F90BBF}" dt="2024-04-11T01:46:45.456" v="2309" actId="478"/>
          <ac:picMkLst>
            <pc:docMk/>
            <pc:sldMk cId="937766100" sldId="377"/>
            <ac:picMk id="23" creationId="{FC3AF28F-66E0-0242-85B7-BFD89CE39962}"/>
          </ac:picMkLst>
        </pc:picChg>
        <pc:cxnChg chg="del">
          <ac:chgData name="Takaaki Masaki" userId="56a88eee-ec65-40f9-8642-be59fd24ba9b" providerId="ADAL" clId="{B854D024-8FF7-452B-B2F9-8E2041F90BBF}" dt="2024-04-11T01:46:47.076" v="2310" actId="478"/>
          <ac:cxnSpMkLst>
            <pc:docMk/>
            <pc:sldMk cId="937766100" sldId="377"/>
            <ac:cxnSpMk id="11" creationId="{A0F763A6-D16A-CA41-B41E-865A2CFACBA3}"/>
          </ac:cxnSpMkLst>
        </pc:cxnChg>
      </pc:sldChg>
      <pc:sldChg chg="new del">
        <pc:chgData name="Takaaki Masaki" userId="56a88eee-ec65-40f9-8642-be59fd24ba9b" providerId="ADAL" clId="{B854D024-8FF7-452B-B2F9-8E2041F90BBF}" dt="2024-04-11T01:46:32.613" v="2307" actId="680"/>
        <pc:sldMkLst>
          <pc:docMk/>
          <pc:sldMk cId="1404624491" sldId="377"/>
        </pc:sldMkLst>
      </pc:sldChg>
      <pc:sldChg chg="addSp delSp modSp new mod">
        <pc:chgData name="Takaaki Masaki" userId="56a88eee-ec65-40f9-8642-be59fd24ba9b" providerId="ADAL" clId="{B854D024-8FF7-452B-B2F9-8E2041F90BBF}" dt="2024-04-16T06:15:57.062" v="7887" actId="1076"/>
        <pc:sldMkLst>
          <pc:docMk/>
          <pc:sldMk cId="48660637" sldId="378"/>
        </pc:sldMkLst>
        <pc:spChg chg="add del mod">
          <ac:chgData name="Takaaki Masaki" userId="56a88eee-ec65-40f9-8642-be59fd24ba9b" providerId="ADAL" clId="{B854D024-8FF7-452B-B2F9-8E2041F90BBF}" dt="2024-04-16T06:15:57.062" v="7887" actId="1076"/>
          <ac:spMkLst>
            <pc:docMk/>
            <pc:sldMk cId="48660637" sldId="378"/>
            <ac:spMk id="2" creationId="{4A556D2E-0527-BE41-57DC-C669F14E2A4B}"/>
          </ac:spMkLst>
        </pc:spChg>
        <pc:spChg chg="del mod">
          <ac:chgData name="Takaaki Masaki" userId="56a88eee-ec65-40f9-8642-be59fd24ba9b" providerId="ADAL" clId="{B854D024-8FF7-452B-B2F9-8E2041F90BBF}" dt="2024-04-11T03:29:48.717" v="2377" actId="478"/>
          <ac:spMkLst>
            <pc:docMk/>
            <pc:sldMk cId="48660637" sldId="378"/>
            <ac:spMk id="3" creationId="{D58825C9-30F0-F4F5-ECE6-C43A673CA712}"/>
          </ac:spMkLst>
        </pc:spChg>
        <pc:spChg chg="add mod">
          <ac:chgData name="Takaaki Masaki" userId="56a88eee-ec65-40f9-8642-be59fd24ba9b" providerId="ADAL" clId="{B854D024-8FF7-452B-B2F9-8E2041F90BBF}" dt="2024-04-16T06:15:51.107" v="7886" actId="20577"/>
          <ac:spMkLst>
            <pc:docMk/>
            <pc:sldMk cId="48660637" sldId="378"/>
            <ac:spMk id="3" creationId="{FD1794E8-4B56-0D01-AC0A-0AE1EF46506F}"/>
          </ac:spMkLst>
        </pc:spChg>
        <pc:spChg chg="add mod">
          <ac:chgData name="Takaaki Masaki" userId="56a88eee-ec65-40f9-8642-be59fd24ba9b" providerId="ADAL" clId="{B854D024-8FF7-452B-B2F9-8E2041F90BBF}" dt="2024-04-11T03:29:45.987" v="2376" actId="20577"/>
          <ac:spMkLst>
            <pc:docMk/>
            <pc:sldMk cId="48660637" sldId="378"/>
            <ac:spMk id="6" creationId="{090CA7EE-4B03-6BB9-1C22-E765C4A73454}"/>
          </ac:spMkLst>
        </pc:spChg>
        <pc:spChg chg="add del mod">
          <ac:chgData name="Takaaki Masaki" userId="56a88eee-ec65-40f9-8642-be59fd24ba9b" providerId="ADAL" clId="{B854D024-8FF7-452B-B2F9-8E2041F90BBF}" dt="2024-04-11T03:29:50.909" v="2379"/>
          <ac:spMkLst>
            <pc:docMk/>
            <pc:sldMk cId="48660637" sldId="378"/>
            <ac:spMk id="7" creationId="{7B0F1F79-B87E-A223-8D0C-0EDF29DBC4F1}"/>
          </ac:spMkLst>
        </pc:spChg>
      </pc:sldChg>
      <pc:sldChg chg="addSp delSp modSp add mod">
        <pc:chgData name="Takaaki Masaki" userId="56a88eee-ec65-40f9-8642-be59fd24ba9b" providerId="ADAL" clId="{B854D024-8FF7-452B-B2F9-8E2041F90BBF}" dt="2024-04-11T03:33:55.551" v="2430" actId="1076"/>
        <pc:sldMkLst>
          <pc:docMk/>
          <pc:sldMk cId="2433455799" sldId="379"/>
        </pc:sldMkLst>
        <pc:spChg chg="del">
          <ac:chgData name="Takaaki Masaki" userId="56a88eee-ec65-40f9-8642-be59fd24ba9b" providerId="ADAL" clId="{B854D024-8FF7-452B-B2F9-8E2041F90BBF}" dt="2024-04-11T03:32:02.340" v="2425" actId="478"/>
          <ac:spMkLst>
            <pc:docMk/>
            <pc:sldMk cId="2433455799" sldId="379"/>
            <ac:spMk id="2" creationId="{4A556D2E-0527-BE41-57DC-C669F14E2A4B}"/>
          </ac:spMkLst>
        </pc:spChg>
        <pc:spChg chg="add del mod">
          <ac:chgData name="Takaaki Masaki" userId="56a88eee-ec65-40f9-8642-be59fd24ba9b" providerId="ADAL" clId="{B854D024-8FF7-452B-B2F9-8E2041F90BBF}" dt="2024-04-11T03:32:04.358" v="2426" actId="478"/>
          <ac:spMkLst>
            <pc:docMk/>
            <pc:sldMk cId="2433455799" sldId="379"/>
            <ac:spMk id="3" creationId="{3B7B1D63-63F3-290C-8C18-C46F56ABB513}"/>
          </ac:spMkLst>
        </pc:spChg>
        <pc:spChg chg="mod">
          <ac:chgData name="Takaaki Masaki" userId="56a88eee-ec65-40f9-8642-be59fd24ba9b" providerId="ADAL" clId="{B854D024-8FF7-452B-B2F9-8E2041F90BBF}" dt="2024-04-11T03:33:55.551" v="2430" actId="1076"/>
          <ac:spMkLst>
            <pc:docMk/>
            <pc:sldMk cId="2433455799" sldId="379"/>
            <ac:spMk id="6" creationId="{090CA7EE-4B03-6BB9-1C22-E765C4A73454}"/>
          </ac:spMkLst>
        </pc:spChg>
      </pc:sldChg>
      <pc:sldChg chg="addSp modSp add mod delCm modCm">
        <pc:chgData name="Takaaki Masaki" userId="56a88eee-ec65-40f9-8642-be59fd24ba9b" providerId="ADAL" clId="{B854D024-8FF7-452B-B2F9-8E2041F90BBF}" dt="2024-04-11T05:37:53.948" v="4375"/>
        <pc:sldMkLst>
          <pc:docMk/>
          <pc:sldMk cId="3258379864" sldId="380"/>
        </pc:sldMkLst>
        <pc:spChg chg="mod">
          <ac:chgData name="Takaaki Masaki" userId="56a88eee-ec65-40f9-8642-be59fd24ba9b" providerId="ADAL" clId="{B854D024-8FF7-452B-B2F9-8E2041F90BBF}" dt="2024-04-11T03:37:19.468" v="2457" actId="20577"/>
          <ac:spMkLst>
            <pc:docMk/>
            <pc:sldMk cId="3258379864" sldId="380"/>
            <ac:spMk id="2" creationId="{18772FE0-9CC7-8E4F-A04D-DFD4A2C11F45}"/>
          </ac:spMkLst>
        </pc:spChg>
        <pc:spChg chg="mod">
          <ac:chgData name="Takaaki Masaki" userId="56a88eee-ec65-40f9-8642-be59fd24ba9b" providerId="ADAL" clId="{B854D024-8FF7-452B-B2F9-8E2041F90BBF}" dt="2024-04-11T03:41:13.226" v="2701" actId="20577"/>
          <ac:spMkLst>
            <pc:docMk/>
            <pc:sldMk cId="3258379864" sldId="380"/>
            <ac:spMk id="3" creationId="{35687254-75A8-3D93-A988-32C7B33F1C6E}"/>
          </ac:spMkLst>
        </pc:spChg>
        <pc:picChg chg="add mod">
          <ac:chgData name="Takaaki Masaki" userId="56a88eee-ec65-40f9-8642-be59fd24ba9b" providerId="ADAL" clId="{B854D024-8FF7-452B-B2F9-8E2041F90BBF}" dt="2024-04-11T03:38:30.591" v="2525" actId="1076"/>
          <ac:picMkLst>
            <pc:docMk/>
            <pc:sldMk cId="3258379864" sldId="380"/>
            <ac:picMk id="6" creationId="{3915FB85-8E13-AADF-56C9-76D8433698A0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del mod">
              <pc226:chgData name="Takaaki Masaki" userId="56a88eee-ec65-40f9-8642-be59fd24ba9b" providerId="ADAL" clId="{B854D024-8FF7-452B-B2F9-8E2041F90BBF}" dt="2024-04-11T05:37:53.948" v="4375"/>
              <pc2:cmMkLst xmlns:pc2="http://schemas.microsoft.com/office/powerpoint/2019/9/main/command">
                <pc:docMk/>
                <pc:sldMk cId="3258379864" sldId="380"/>
                <pc2:cmMk id="{218BE1FD-D38B-45E0-8273-69481DA34720}"/>
              </pc2:cmMkLst>
            </pc226:cmChg>
          </p:ext>
        </pc:extLst>
      </pc:sldChg>
      <pc:sldChg chg="delSp modSp add mod delCm">
        <pc:chgData name="Takaaki Masaki" userId="56a88eee-ec65-40f9-8642-be59fd24ba9b" providerId="ADAL" clId="{B854D024-8FF7-452B-B2F9-8E2041F90BBF}" dt="2024-04-11T05:37:48.620" v="4374"/>
        <pc:sldMkLst>
          <pc:docMk/>
          <pc:sldMk cId="3987817943" sldId="381"/>
        </pc:sldMkLst>
        <pc:spChg chg="mod">
          <ac:chgData name="Takaaki Masaki" userId="56a88eee-ec65-40f9-8642-be59fd24ba9b" providerId="ADAL" clId="{B854D024-8FF7-452B-B2F9-8E2041F90BBF}" dt="2024-04-11T03:45:19.099" v="2894" actId="20577"/>
          <ac:spMkLst>
            <pc:docMk/>
            <pc:sldMk cId="3987817943" sldId="381"/>
            <ac:spMk id="2" creationId="{18772FE0-9CC7-8E4F-A04D-DFD4A2C11F45}"/>
          </ac:spMkLst>
        </pc:spChg>
        <pc:spChg chg="mod">
          <ac:chgData name="Takaaki Masaki" userId="56a88eee-ec65-40f9-8642-be59fd24ba9b" providerId="ADAL" clId="{B854D024-8FF7-452B-B2F9-8E2041F90BBF}" dt="2024-04-11T03:45:47.871" v="2934" actId="20577"/>
          <ac:spMkLst>
            <pc:docMk/>
            <pc:sldMk cId="3987817943" sldId="381"/>
            <ac:spMk id="3" creationId="{35687254-75A8-3D93-A988-32C7B33F1C6E}"/>
          </ac:spMkLst>
        </pc:spChg>
        <pc:picChg chg="del">
          <ac:chgData name="Takaaki Masaki" userId="56a88eee-ec65-40f9-8642-be59fd24ba9b" providerId="ADAL" clId="{B854D024-8FF7-452B-B2F9-8E2041F90BBF}" dt="2024-04-11T03:42:39.253" v="2806" actId="478"/>
          <ac:picMkLst>
            <pc:docMk/>
            <pc:sldMk cId="3987817943" sldId="381"/>
            <ac:picMk id="6" creationId="{3915FB85-8E13-AADF-56C9-76D8433698A0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Takaaki Masaki" userId="56a88eee-ec65-40f9-8642-be59fd24ba9b" providerId="ADAL" clId="{B854D024-8FF7-452B-B2F9-8E2041F90BBF}" dt="2024-04-11T05:37:48.620" v="4374"/>
              <pc2:cmMkLst xmlns:pc2="http://schemas.microsoft.com/office/powerpoint/2019/9/main/command">
                <pc:docMk/>
                <pc:sldMk cId="3987817943" sldId="381"/>
                <pc2:cmMk id="{0A4B2665-DCFC-4CC2-AE20-4370AF035A44}"/>
              </pc2:cmMkLst>
            </pc226:cmChg>
          </p:ext>
        </pc:extLst>
      </pc:sldChg>
      <pc:sldChg chg="delSp modSp add mod delCm">
        <pc:chgData name="Takaaki Masaki" userId="56a88eee-ec65-40f9-8642-be59fd24ba9b" providerId="ADAL" clId="{B854D024-8FF7-452B-B2F9-8E2041F90BBF}" dt="2024-04-11T05:37:38.542" v="4372"/>
        <pc:sldMkLst>
          <pc:docMk/>
          <pc:sldMk cId="3220225615" sldId="382"/>
        </pc:sldMkLst>
        <pc:spChg chg="mod">
          <ac:chgData name="Takaaki Masaki" userId="56a88eee-ec65-40f9-8642-be59fd24ba9b" providerId="ADAL" clId="{B854D024-8FF7-452B-B2F9-8E2041F90BBF}" dt="2024-04-11T03:46:23.815" v="2957" actId="20577"/>
          <ac:spMkLst>
            <pc:docMk/>
            <pc:sldMk cId="3220225615" sldId="382"/>
            <ac:spMk id="2" creationId="{18772FE0-9CC7-8E4F-A04D-DFD4A2C11F45}"/>
          </ac:spMkLst>
        </pc:spChg>
        <pc:spChg chg="mod">
          <ac:chgData name="Takaaki Masaki" userId="56a88eee-ec65-40f9-8642-be59fd24ba9b" providerId="ADAL" clId="{B854D024-8FF7-452B-B2F9-8E2041F90BBF}" dt="2024-04-11T03:46:36.543" v="3017" actId="20577"/>
          <ac:spMkLst>
            <pc:docMk/>
            <pc:sldMk cId="3220225615" sldId="382"/>
            <ac:spMk id="3" creationId="{35687254-75A8-3D93-A988-32C7B33F1C6E}"/>
          </ac:spMkLst>
        </pc:spChg>
        <pc:picChg chg="del">
          <ac:chgData name="Takaaki Masaki" userId="56a88eee-ec65-40f9-8642-be59fd24ba9b" providerId="ADAL" clId="{B854D024-8FF7-452B-B2F9-8E2041F90BBF}" dt="2024-04-11T03:46:37.973" v="3018" actId="478"/>
          <ac:picMkLst>
            <pc:docMk/>
            <pc:sldMk cId="3220225615" sldId="382"/>
            <ac:picMk id="6" creationId="{3915FB85-8E13-AADF-56C9-76D8433698A0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Takaaki Masaki" userId="56a88eee-ec65-40f9-8642-be59fd24ba9b" providerId="ADAL" clId="{B854D024-8FF7-452B-B2F9-8E2041F90BBF}" dt="2024-04-11T05:37:38.542" v="4372"/>
              <pc2:cmMkLst xmlns:pc2="http://schemas.microsoft.com/office/powerpoint/2019/9/main/command">
                <pc:docMk/>
                <pc:sldMk cId="3220225615" sldId="382"/>
                <pc2:cmMk id="{C8B8AFCC-2F4A-4D78-B6FA-AE85DB16B97B}"/>
              </pc2:cmMkLst>
            </pc226:cmChg>
          </p:ext>
        </pc:extLst>
      </pc:sldChg>
      <pc:sldChg chg="modSp add mod ord delCm">
        <pc:chgData name="Takaaki Masaki" userId="56a88eee-ec65-40f9-8642-be59fd24ba9b" providerId="ADAL" clId="{B854D024-8FF7-452B-B2F9-8E2041F90BBF}" dt="2024-04-11T05:37:43.592" v="4373"/>
        <pc:sldMkLst>
          <pc:docMk/>
          <pc:sldMk cId="3648482753" sldId="383"/>
        </pc:sldMkLst>
        <pc:spChg chg="mod">
          <ac:chgData name="Takaaki Masaki" userId="56a88eee-ec65-40f9-8642-be59fd24ba9b" providerId="ADAL" clId="{B854D024-8FF7-452B-B2F9-8E2041F90BBF}" dt="2024-04-11T03:46:58.334" v="3033" actId="20577"/>
          <ac:spMkLst>
            <pc:docMk/>
            <pc:sldMk cId="3648482753" sldId="383"/>
            <ac:spMk id="2" creationId="{18772FE0-9CC7-8E4F-A04D-DFD4A2C11F45}"/>
          </ac:spMkLst>
        </pc:spChg>
        <pc:spChg chg="mod">
          <ac:chgData name="Takaaki Masaki" userId="56a88eee-ec65-40f9-8642-be59fd24ba9b" providerId="ADAL" clId="{B854D024-8FF7-452B-B2F9-8E2041F90BBF}" dt="2024-04-11T03:45:59.358" v="2942" actId="20577"/>
          <ac:spMkLst>
            <pc:docMk/>
            <pc:sldMk cId="3648482753" sldId="383"/>
            <ac:spMk id="3" creationId="{35687254-75A8-3D93-A988-32C7B33F1C6E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Takaaki Masaki" userId="56a88eee-ec65-40f9-8642-be59fd24ba9b" providerId="ADAL" clId="{B854D024-8FF7-452B-B2F9-8E2041F90BBF}" dt="2024-04-11T05:37:43.592" v="4373"/>
              <pc2:cmMkLst xmlns:pc2="http://schemas.microsoft.com/office/powerpoint/2019/9/main/command">
                <pc:docMk/>
                <pc:sldMk cId="3648482753" sldId="383"/>
                <pc2:cmMk id="{E0EE4A10-530E-447E-81E5-FDACEEF1558A}"/>
              </pc2:cmMkLst>
            </pc226:cmChg>
          </p:ext>
        </pc:extLst>
      </pc:sldChg>
      <pc:sldChg chg="addSp modSp new mod">
        <pc:chgData name="Takaaki Masaki" userId="56a88eee-ec65-40f9-8642-be59fd24ba9b" providerId="ADAL" clId="{B854D024-8FF7-452B-B2F9-8E2041F90BBF}" dt="2024-04-12T00:56:16.887" v="4513" actId="1076"/>
        <pc:sldMkLst>
          <pc:docMk/>
          <pc:sldMk cId="3047067756" sldId="384"/>
        </pc:sldMkLst>
        <pc:spChg chg="mod">
          <ac:chgData name="Takaaki Masaki" userId="56a88eee-ec65-40f9-8642-be59fd24ba9b" providerId="ADAL" clId="{B854D024-8FF7-452B-B2F9-8E2041F90BBF}" dt="2024-04-11T04:05:20.402" v="3076" actId="20577"/>
          <ac:spMkLst>
            <pc:docMk/>
            <pc:sldMk cId="3047067756" sldId="384"/>
            <ac:spMk id="2" creationId="{C4ACDA44-19F4-3831-BB0E-4EAF4E371DE0}"/>
          </ac:spMkLst>
        </pc:spChg>
        <pc:spChg chg="mod">
          <ac:chgData name="Takaaki Masaki" userId="56a88eee-ec65-40f9-8642-be59fd24ba9b" providerId="ADAL" clId="{B854D024-8FF7-452B-B2F9-8E2041F90BBF}" dt="2024-04-11T04:17:06.753" v="3204" actId="20577"/>
          <ac:spMkLst>
            <pc:docMk/>
            <pc:sldMk cId="3047067756" sldId="384"/>
            <ac:spMk id="3" creationId="{975F9406-8D7D-862D-8F39-C555E94AA688}"/>
          </ac:spMkLst>
        </pc:spChg>
        <pc:picChg chg="add mod">
          <ac:chgData name="Takaaki Masaki" userId="56a88eee-ec65-40f9-8642-be59fd24ba9b" providerId="ADAL" clId="{B854D024-8FF7-452B-B2F9-8E2041F90BBF}" dt="2024-04-12T00:56:13.157" v="4511" actId="1076"/>
          <ac:picMkLst>
            <pc:docMk/>
            <pc:sldMk cId="3047067756" sldId="384"/>
            <ac:picMk id="1026" creationId="{D3F05243-0C3F-7DFB-8B4C-D7F4CFC81000}"/>
          </ac:picMkLst>
        </pc:picChg>
        <pc:picChg chg="add mod">
          <ac:chgData name="Takaaki Masaki" userId="56a88eee-ec65-40f9-8642-be59fd24ba9b" providerId="ADAL" clId="{B854D024-8FF7-452B-B2F9-8E2041F90BBF}" dt="2024-04-12T00:56:16.887" v="4513" actId="1076"/>
          <ac:picMkLst>
            <pc:docMk/>
            <pc:sldMk cId="3047067756" sldId="384"/>
            <ac:picMk id="1028" creationId="{65001DDC-AB14-99F2-B92D-2C2788E21745}"/>
          </ac:picMkLst>
        </pc:picChg>
      </pc:sldChg>
      <pc:sldChg chg="modSp add mod">
        <pc:chgData name="Takaaki Masaki" userId="56a88eee-ec65-40f9-8642-be59fd24ba9b" providerId="ADAL" clId="{B854D024-8FF7-452B-B2F9-8E2041F90BBF}" dt="2024-04-11T04:19:09.486" v="3255" actId="20577"/>
        <pc:sldMkLst>
          <pc:docMk/>
          <pc:sldMk cId="3289215366" sldId="385"/>
        </pc:sldMkLst>
        <pc:spChg chg="mod">
          <ac:chgData name="Takaaki Masaki" userId="56a88eee-ec65-40f9-8642-be59fd24ba9b" providerId="ADAL" clId="{B854D024-8FF7-452B-B2F9-8E2041F90BBF}" dt="2024-04-11T04:19:09.486" v="3255" actId="20577"/>
          <ac:spMkLst>
            <pc:docMk/>
            <pc:sldMk cId="3289215366" sldId="385"/>
            <ac:spMk id="2" creationId="{E01226A3-FD12-4BA7-ABF5-9D408688073E}"/>
          </ac:spMkLst>
        </pc:spChg>
      </pc:sldChg>
      <pc:sldChg chg="modSp new mod">
        <pc:chgData name="Takaaki Masaki" userId="56a88eee-ec65-40f9-8642-be59fd24ba9b" providerId="ADAL" clId="{B854D024-8FF7-452B-B2F9-8E2041F90BBF}" dt="2024-04-11T04:23:48.872" v="3274" actId="122"/>
        <pc:sldMkLst>
          <pc:docMk/>
          <pc:sldMk cId="3920356139" sldId="386"/>
        </pc:sldMkLst>
        <pc:spChg chg="mod">
          <ac:chgData name="Takaaki Masaki" userId="56a88eee-ec65-40f9-8642-be59fd24ba9b" providerId="ADAL" clId="{B854D024-8FF7-452B-B2F9-8E2041F90BBF}" dt="2024-04-11T04:19:27.729" v="3268" actId="20577"/>
          <ac:spMkLst>
            <pc:docMk/>
            <pc:sldMk cId="3920356139" sldId="386"/>
            <ac:spMk id="2" creationId="{5C38AFF2-C090-6C96-60BC-DC6D5F2CC743}"/>
          </ac:spMkLst>
        </pc:spChg>
        <pc:spChg chg="mod">
          <ac:chgData name="Takaaki Masaki" userId="56a88eee-ec65-40f9-8642-be59fd24ba9b" providerId="ADAL" clId="{B854D024-8FF7-452B-B2F9-8E2041F90BBF}" dt="2024-04-11T04:23:48.872" v="3274" actId="122"/>
          <ac:spMkLst>
            <pc:docMk/>
            <pc:sldMk cId="3920356139" sldId="386"/>
            <ac:spMk id="3" creationId="{06744B89-B604-8AB8-04C8-3A65812A1130}"/>
          </ac:spMkLst>
        </pc:spChg>
      </pc:sldChg>
      <pc:sldChg chg="addSp delSp modSp new mod modNotesTx">
        <pc:chgData name="Takaaki Masaki" userId="56a88eee-ec65-40f9-8642-be59fd24ba9b" providerId="ADAL" clId="{B854D024-8FF7-452B-B2F9-8E2041F90BBF}" dt="2024-04-11T05:07:07.484" v="4050" actId="20577"/>
        <pc:sldMkLst>
          <pc:docMk/>
          <pc:sldMk cId="2272339822" sldId="387"/>
        </pc:sldMkLst>
        <pc:spChg chg="mod">
          <ac:chgData name="Takaaki Masaki" userId="56a88eee-ec65-40f9-8642-be59fd24ba9b" providerId="ADAL" clId="{B854D024-8FF7-452B-B2F9-8E2041F90BBF}" dt="2024-04-11T05:07:07.484" v="4050" actId="20577"/>
          <ac:spMkLst>
            <pc:docMk/>
            <pc:sldMk cId="2272339822" sldId="387"/>
            <ac:spMk id="2" creationId="{60084859-E6BB-8FD6-D354-031003A96F81}"/>
          </ac:spMkLst>
        </pc:spChg>
        <pc:spChg chg="mod">
          <ac:chgData name="Takaaki Masaki" userId="56a88eee-ec65-40f9-8642-be59fd24ba9b" providerId="ADAL" clId="{B854D024-8FF7-452B-B2F9-8E2041F90BBF}" dt="2024-04-11T04:53:55.718" v="3788"/>
          <ac:spMkLst>
            <pc:docMk/>
            <pc:sldMk cId="2272339822" sldId="387"/>
            <ac:spMk id="3" creationId="{EDEBF080-9AF4-F7EC-54CA-94D42978DBAB}"/>
          </ac:spMkLst>
        </pc:spChg>
        <pc:picChg chg="add del mod">
          <ac:chgData name="Takaaki Masaki" userId="56a88eee-ec65-40f9-8642-be59fd24ba9b" providerId="ADAL" clId="{B854D024-8FF7-452B-B2F9-8E2041F90BBF}" dt="2024-04-11T04:51:12.202" v="3719" actId="478"/>
          <ac:picMkLst>
            <pc:docMk/>
            <pc:sldMk cId="2272339822" sldId="387"/>
            <ac:picMk id="7" creationId="{739E9519-9AE0-56F5-DC35-A8AA7D472E7E}"/>
          </ac:picMkLst>
        </pc:picChg>
      </pc:sldChg>
      <pc:sldChg chg="addSp delSp modSp add mod">
        <pc:chgData name="Takaaki Masaki" userId="56a88eee-ec65-40f9-8642-be59fd24ba9b" providerId="ADAL" clId="{B854D024-8FF7-452B-B2F9-8E2041F90BBF}" dt="2024-04-11T12:54:29.723" v="4425"/>
        <pc:sldMkLst>
          <pc:docMk/>
          <pc:sldMk cId="3503772838" sldId="388"/>
        </pc:sldMkLst>
        <pc:spChg chg="mod">
          <ac:chgData name="Takaaki Masaki" userId="56a88eee-ec65-40f9-8642-be59fd24ba9b" providerId="ADAL" clId="{B854D024-8FF7-452B-B2F9-8E2041F90BBF}" dt="2024-04-11T12:54:29.723" v="4425"/>
          <ac:spMkLst>
            <pc:docMk/>
            <pc:sldMk cId="3503772838" sldId="388"/>
            <ac:spMk id="3" creationId="{EDEBF080-9AF4-F7EC-54CA-94D42978DBAB}"/>
          </ac:spMkLst>
        </pc:spChg>
        <pc:graphicFrameChg chg="add del mod">
          <ac:chgData name="Takaaki Masaki" userId="56a88eee-ec65-40f9-8642-be59fd24ba9b" providerId="ADAL" clId="{B854D024-8FF7-452B-B2F9-8E2041F90BBF}" dt="2024-04-11T05:53:57.288" v="4379" actId="478"/>
          <ac:graphicFrameMkLst>
            <pc:docMk/>
            <pc:sldMk cId="3503772838" sldId="388"/>
            <ac:graphicFrameMk id="6" creationId="{8CB2A2CC-CAC5-B712-6675-7D883D516F85}"/>
          </ac:graphicFrameMkLst>
        </pc:graphicFrameChg>
        <pc:picChg chg="del">
          <ac:chgData name="Takaaki Masaki" userId="56a88eee-ec65-40f9-8642-be59fd24ba9b" providerId="ADAL" clId="{B854D024-8FF7-452B-B2F9-8E2041F90BBF}" dt="2024-04-11T04:40:16.493" v="3494" actId="478"/>
          <ac:picMkLst>
            <pc:docMk/>
            <pc:sldMk cId="3503772838" sldId="388"/>
            <ac:picMk id="7" creationId="{739E9519-9AE0-56F5-DC35-A8AA7D472E7E}"/>
          </ac:picMkLst>
        </pc:picChg>
      </pc:sldChg>
      <pc:sldChg chg="new del">
        <pc:chgData name="Takaaki Masaki" userId="56a88eee-ec65-40f9-8642-be59fd24ba9b" providerId="ADAL" clId="{B854D024-8FF7-452B-B2F9-8E2041F90BBF}" dt="2024-04-11T04:54:25.219" v="3792" actId="47"/>
        <pc:sldMkLst>
          <pc:docMk/>
          <pc:sldMk cId="880247130" sldId="389"/>
        </pc:sldMkLst>
      </pc:sldChg>
      <pc:sldChg chg="modSp add mod">
        <pc:chgData name="Takaaki Masaki" userId="56a88eee-ec65-40f9-8642-be59fd24ba9b" providerId="ADAL" clId="{B854D024-8FF7-452B-B2F9-8E2041F90BBF}" dt="2024-04-12T00:57:26.567" v="4520" actId="207"/>
        <pc:sldMkLst>
          <pc:docMk/>
          <pc:sldMk cId="4153926815" sldId="390"/>
        </pc:sldMkLst>
        <pc:spChg chg="mod">
          <ac:chgData name="Takaaki Masaki" userId="56a88eee-ec65-40f9-8642-be59fd24ba9b" providerId="ADAL" clId="{B854D024-8FF7-452B-B2F9-8E2041F90BBF}" dt="2024-04-12T00:57:26.567" v="4520" actId="207"/>
          <ac:spMkLst>
            <pc:docMk/>
            <pc:sldMk cId="4153926815" sldId="390"/>
            <ac:spMk id="3" creationId="{EDEBF080-9AF4-F7EC-54CA-94D42978DBAB}"/>
          </ac:spMkLst>
        </pc:spChg>
      </pc:sldChg>
      <pc:sldChg chg="modSp add mod">
        <pc:chgData name="Takaaki Masaki" userId="56a88eee-ec65-40f9-8642-be59fd24ba9b" providerId="ADAL" clId="{B854D024-8FF7-452B-B2F9-8E2041F90BBF}" dt="2024-04-12T00:57:59.121" v="4557" actId="20577"/>
        <pc:sldMkLst>
          <pc:docMk/>
          <pc:sldMk cId="3852843017" sldId="391"/>
        </pc:sldMkLst>
        <pc:spChg chg="mod">
          <ac:chgData name="Takaaki Masaki" userId="56a88eee-ec65-40f9-8642-be59fd24ba9b" providerId="ADAL" clId="{B854D024-8FF7-452B-B2F9-8E2041F90BBF}" dt="2024-04-12T00:57:59.121" v="4557" actId="20577"/>
          <ac:spMkLst>
            <pc:docMk/>
            <pc:sldMk cId="3852843017" sldId="391"/>
            <ac:spMk id="3" creationId="{EDEBF080-9AF4-F7EC-54CA-94D42978DBAB}"/>
          </ac:spMkLst>
        </pc:spChg>
      </pc:sldChg>
      <pc:sldChg chg="addSp modSp new mod">
        <pc:chgData name="Takaaki Masaki" userId="56a88eee-ec65-40f9-8642-be59fd24ba9b" providerId="ADAL" clId="{B854D024-8FF7-452B-B2F9-8E2041F90BBF}" dt="2024-04-12T00:57:19.708" v="4519" actId="20577"/>
        <pc:sldMkLst>
          <pc:docMk/>
          <pc:sldMk cId="2787182346" sldId="392"/>
        </pc:sldMkLst>
        <pc:spChg chg="mod">
          <ac:chgData name="Takaaki Masaki" userId="56a88eee-ec65-40f9-8642-be59fd24ba9b" providerId="ADAL" clId="{B854D024-8FF7-452B-B2F9-8E2041F90BBF}" dt="2024-04-11T04:59:21.320" v="3858" actId="20577"/>
          <ac:spMkLst>
            <pc:docMk/>
            <pc:sldMk cId="2787182346" sldId="392"/>
            <ac:spMk id="2" creationId="{37F0FC2B-B72F-A007-80EA-C5341F830397}"/>
          </ac:spMkLst>
        </pc:spChg>
        <pc:spChg chg="mod">
          <ac:chgData name="Takaaki Masaki" userId="56a88eee-ec65-40f9-8642-be59fd24ba9b" providerId="ADAL" clId="{B854D024-8FF7-452B-B2F9-8E2041F90BBF}" dt="2024-04-12T00:57:19.708" v="4519" actId="20577"/>
          <ac:spMkLst>
            <pc:docMk/>
            <pc:sldMk cId="2787182346" sldId="392"/>
            <ac:spMk id="3" creationId="{A0C14624-C7DE-3B9B-4197-BCC5A809BAD3}"/>
          </ac:spMkLst>
        </pc:spChg>
        <pc:spChg chg="add mod">
          <ac:chgData name="Takaaki Masaki" userId="56a88eee-ec65-40f9-8642-be59fd24ba9b" providerId="ADAL" clId="{B854D024-8FF7-452B-B2F9-8E2041F90BBF}" dt="2024-04-11T05:06:46.875" v="4029" actId="1076"/>
          <ac:spMkLst>
            <pc:docMk/>
            <pc:sldMk cId="2787182346" sldId="392"/>
            <ac:spMk id="8" creationId="{3D1787CA-C063-7B40-0DD5-3BFF52899FAE}"/>
          </ac:spMkLst>
        </pc:spChg>
        <pc:picChg chg="add mod">
          <ac:chgData name="Takaaki Masaki" userId="56a88eee-ec65-40f9-8642-be59fd24ba9b" providerId="ADAL" clId="{B854D024-8FF7-452B-B2F9-8E2041F90BBF}" dt="2024-04-11T05:06:44.407" v="4028" actId="1076"/>
          <ac:picMkLst>
            <pc:docMk/>
            <pc:sldMk cId="2787182346" sldId="392"/>
            <ac:picMk id="7" creationId="{134E32B4-A841-023D-54E2-C0F7198FAABF}"/>
          </ac:picMkLst>
        </pc:picChg>
      </pc:sldChg>
      <pc:sldChg chg="modSp new mod">
        <pc:chgData name="Takaaki Masaki" userId="56a88eee-ec65-40f9-8642-be59fd24ba9b" providerId="ADAL" clId="{B854D024-8FF7-452B-B2F9-8E2041F90BBF}" dt="2024-04-12T00:58:42.566" v="4644" actId="20577"/>
        <pc:sldMkLst>
          <pc:docMk/>
          <pc:sldMk cId="1618653439" sldId="393"/>
        </pc:sldMkLst>
        <pc:spChg chg="mod">
          <ac:chgData name="Takaaki Masaki" userId="56a88eee-ec65-40f9-8642-be59fd24ba9b" providerId="ADAL" clId="{B854D024-8FF7-452B-B2F9-8E2041F90BBF}" dt="2024-04-12T00:58:19.921" v="4586" actId="20577"/>
          <ac:spMkLst>
            <pc:docMk/>
            <pc:sldMk cId="1618653439" sldId="393"/>
            <ac:spMk id="2" creationId="{73DFCCB5-3436-F867-CF70-C797B0CBF5FE}"/>
          </ac:spMkLst>
        </pc:spChg>
        <pc:spChg chg="mod">
          <ac:chgData name="Takaaki Masaki" userId="56a88eee-ec65-40f9-8642-be59fd24ba9b" providerId="ADAL" clId="{B854D024-8FF7-452B-B2F9-8E2041F90BBF}" dt="2024-04-12T00:58:42.566" v="4644" actId="20577"/>
          <ac:spMkLst>
            <pc:docMk/>
            <pc:sldMk cId="1618653439" sldId="393"/>
            <ac:spMk id="3" creationId="{17922337-70EF-AFE0-C951-B439D953DC71}"/>
          </ac:spMkLst>
        </pc:spChg>
      </pc:sldChg>
      <pc:sldChg chg="modSp add mod">
        <pc:chgData name="Takaaki Masaki" userId="56a88eee-ec65-40f9-8642-be59fd24ba9b" providerId="ADAL" clId="{B854D024-8FF7-452B-B2F9-8E2041F90BBF}" dt="2024-04-16T00:34:46.303" v="4784" actId="20577"/>
        <pc:sldMkLst>
          <pc:docMk/>
          <pc:sldMk cId="2539305716" sldId="394"/>
        </pc:sldMkLst>
        <pc:spChg chg="mod">
          <ac:chgData name="Takaaki Masaki" userId="56a88eee-ec65-40f9-8642-be59fd24ba9b" providerId="ADAL" clId="{B854D024-8FF7-452B-B2F9-8E2041F90BBF}" dt="2024-04-16T00:34:46.303" v="4784" actId="20577"/>
          <ac:spMkLst>
            <pc:docMk/>
            <pc:sldMk cId="2539305716" sldId="394"/>
            <ac:spMk id="2" creationId="{E01226A3-FD12-4BA7-ABF5-9D408688073E}"/>
          </ac:spMkLst>
        </pc:spChg>
      </pc:sldChg>
      <pc:sldChg chg="modSp add mod">
        <pc:chgData name="Takaaki Masaki" userId="56a88eee-ec65-40f9-8642-be59fd24ba9b" providerId="ADAL" clId="{B854D024-8FF7-452B-B2F9-8E2041F90BBF}" dt="2024-04-16T00:37:26.655" v="4791" actId="20577"/>
        <pc:sldMkLst>
          <pc:docMk/>
          <pc:sldMk cId="2458777120" sldId="395"/>
        </pc:sldMkLst>
        <pc:spChg chg="mod">
          <ac:chgData name="Takaaki Masaki" userId="56a88eee-ec65-40f9-8642-be59fd24ba9b" providerId="ADAL" clId="{B854D024-8FF7-452B-B2F9-8E2041F90BBF}" dt="2024-04-16T00:37:26.655" v="4791" actId="20577"/>
          <ac:spMkLst>
            <pc:docMk/>
            <pc:sldMk cId="2458777120" sldId="395"/>
            <ac:spMk id="2" creationId="{4A556D2E-0527-BE41-57DC-C669F14E2A4B}"/>
          </ac:spMkLst>
        </pc:spChg>
      </pc:sldChg>
      <pc:sldChg chg="delSp modSp new del mod">
        <pc:chgData name="Takaaki Masaki" userId="56a88eee-ec65-40f9-8642-be59fd24ba9b" providerId="ADAL" clId="{B854D024-8FF7-452B-B2F9-8E2041F90BBF}" dt="2024-04-16T00:37:20.904" v="4788" actId="47"/>
        <pc:sldMkLst>
          <pc:docMk/>
          <pc:sldMk cId="3430835585" sldId="395"/>
        </pc:sldMkLst>
        <pc:spChg chg="del">
          <ac:chgData name="Takaaki Masaki" userId="56a88eee-ec65-40f9-8642-be59fd24ba9b" providerId="ADAL" clId="{B854D024-8FF7-452B-B2F9-8E2041F90BBF}" dt="2024-04-16T00:37:03.025" v="4786" actId="478"/>
          <ac:spMkLst>
            <pc:docMk/>
            <pc:sldMk cId="3430835585" sldId="395"/>
            <ac:spMk id="2" creationId="{C9D53D6A-259C-9324-09C4-1CAEAC080850}"/>
          </ac:spMkLst>
        </pc:spChg>
        <pc:spChg chg="mod">
          <ac:chgData name="Takaaki Masaki" userId="56a88eee-ec65-40f9-8642-be59fd24ba9b" providerId="ADAL" clId="{B854D024-8FF7-452B-B2F9-8E2041F90BBF}" dt="2024-04-16T00:37:05.766" v="4787" actId="14100"/>
          <ac:spMkLst>
            <pc:docMk/>
            <pc:sldMk cId="3430835585" sldId="395"/>
            <ac:spMk id="3" creationId="{E697A57E-4990-AFBD-9325-1C47E0B7E786}"/>
          </ac:spMkLst>
        </pc:spChg>
      </pc:sldChg>
      <pc:sldChg chg="addSp delSp modSp add del mod">
        <pc:chgData name="Takaaki Masaki" userId="56a88eee-ec65-40f9-8642-be59fd24ba9b" providerId="ADAL" clId="{B854D024-8FF7-452B-B2F9-8E2041F90BBF}" dt="2024-04-16T01:13:57.207" v="5094" actId="47"/>
        <pc:sldMkLst>
          <pc:docMk/>
          <pc:sldMk cId="4105954500" sldId="396"/>
        </pc:sldMkLst>
        <pc:spChg chg="mod">
          <ac:chgData name="Takaaki Masaki" userId="56a88eee-ec65-40f9-8642-be59fd24ba9b" providerId="ADAL" clId="{B854D024-8FF7-452B-B2F9-8E2041F90BBF}" dt="2024-04-16T01:10:39.856" v="5056" actId="20577"/>
          <ac:spMkLst>
            <pc:docMk/>
            <pc:sldMk cId="4105954500" sldId="396"/>
            <ac:spMk id="2" creationId="{90D0FF2E-2620-4EB1-A986-02CA3AA912A8}"/>
          </ac:spMkLst>
        </pc:spChg>
        <pc:spChg chg="del">
          <ac:chgData name="Takaaki Masaki" userId="56a88eee-ec65-40f9-8642-be59fd24ba9b" providerId="ADAL" clId="{B854D024-8FF7-452B-B2F9-8E2041F90BBF}" dt="2024-04-16T01:10:43.475" v="5057" actId="478"/>
          <ac:spMkLst>
            <pc:docMk/>
            <pc:sldMk cId="4105954500" sldId="396"/>
            <ac:spMk id="3" creationId="{B894210C-9002-4DA4-9DD8-4CF05F405920}"/>
          </ac:spMkLst>
        </pc:spChg>
        <pc:spChg chg="add mod">
          <ac:chgData name="Takaaki Masaki" userId="56a88eee-ec65-40f9-8642-be59fd24ba9b" providerId="ADAL" clId="{B854D024-8FF7-452B-B2F9-8E2041F90BBF}" dt="2024-04-16T01:10:43.475" v="5057" actId="478"/>
          <ac:spMkLst>
            <pc:docMk/>
            <pc:sldMk cId="4105954500" sldId="396"/>
            <ac:spMk id="6" creationId="{D88E5E82-D617-03ED-4D7B-2BDDBA3C8FFB}"/>
          </ac:spMkLst>
        </pc:spChg>
      </pc:sldChg>
      <pc:sldChg chg="addSp delSp modSp add del mod">
        <pc:chgData name="Takaaki Masaki" userId="56a88eee-ec65-40f9-8642-be59fd24ba9b" providerId="ADAL" clId="{B854D024-8FF7-452B-B2F9-8E2041F90BBF}" dt="2024-04-16T01:13:58.067" v="5095" actId="47"/>
        <pc:sldMkLst>
          <pc:docMk/>
          <pc:sldMk cId="2955174239" sldId="397"/>
        </pc:sldMkLst>
        <pc:spChg chg="mod">
          <ac:chgData name="Takaaki Masaki" userId="56a88eee-ec65-40f9-8642-be59fd24ba9b" providerId="ADAL" clId="{B854D024-8FF7-452B-B2F9-8E2041F90BBF}" dt="2024-04-16T01:10:47.523" v="5065" actId="20577"/>
          <ac:spMkLst>
            <pc:docMk/>
            <pc:sldMk cId="2955174239" sldId="397"/>
            <ac:spMk id="2" creationId="{90D0FF2E-2620-4EB1-A986-02CA3AA912A8}"/>
          </ac:spMkLst>
        </pc:spChg>
        <pc:spChg chg="del">
          <ac:chgData name="Takaaki Masaki" userId="56a88eee-ec65-40f9-8642-be59fd24ba9b" providerId="ADAL" clId="{B854D024-8FF7-452B-B2F9-8E2041F90BBF}" dt="2024-04-16T01:10:50.067" v="5066" actId="478"/>
          <ac:spMkLst>
            <pc:docMk/>
            <pc:sldMk cId="2955174239" sldId="397"/>
            <ac:spMk id="3" creationId="{B894210C-9002-4DA4-9DD8-4CF05F405920}"/>
          </ac:spMkLst>
        </pc:spChg>
        <pc:spChg chg="add mod">
          <ac:chgData name="Takaaki Masaki" userId="56a88eee-ec65-40f9-8642-be59fd24ba9b" providerId="ADAL" clId="{B854D024-8FF7-452B-B2F9-8E2041F90BBF}" dt="2024-04-16T01:10:50.067" v="5066" actId="478"/>
          <ac:spMkLst>
            <pc:docMk/>
            <pc:sldMk cId="2955174239" sldId="397"/>
            <ac:spMk id="6" creationId="{A9943EAA-416F-167F-6F90-0DB4F0A714A3}"/>
          </ac:spMkLst>
        </pc:spChg>
      </pc:sldChg>
      <pc:sldChg chg="addSp delSp modSp add del mod">
        <pc:chgData name="Takaaki Masaki" userId="56a88eee-ec65-40f9-8642-be59fd24ba9b" providerId="ADAL" clId="{B854D024-8FF7-452B-B2F9-8E2041F90BBF}" dt="2024-04-16T01:13:58.939" v="5096" actId="47"/>
        <pc:sldMkLst>
          <pc:docMk/>
          <pc:sldMk cId="1694956693" sldId="398"/>
        </pc:sldMkLst>
        <pc:spChg chg="mod">
          <ac:chgData name="Takaaki Masaki" userId="56a88eee-ec65-40f9-8642-be59fd24ba9b" providerId="ADAL" clId="{B854D024-8FF7-452B-B2F9-8E2041F90BBF}" dt="2024-04-16T01:10:56.509" v="5076" actId="20577"/>
          <ac:spMkLst>
            <pc:docMk/>
            <pc:sldMk cId="1694956693" sldId="398"/>
            <ac:spMk id="2" creationId="{90D0FF2E-2620-4EB1-A986-02CA3AA912A8}"/>
          </ac:spMkLst>
        </pc:spChg>
        <pc:spChg chg="del">
          <ac:chgData name="Takaaki Masaki" userId="56a88eee-ec65-40f9-8642-be59fd24ba9b" providerId="ADAL" clId="{B854D024-8FF7-452B-B2F9-8E2041F90BBF}" dt="2024-04-16T01:13:36.598" v="5087" actId="478"/>
          <ac:spMkLst>
            <pc:docMk/>
            <pc:sldMk cId="1694956693" sldId="398"/>
            <ac:spMk id="3" creationId="{B894210C-9002-4DA4-9DD8-4CF05F405920}"/>
          </ac:spMkLst>
        </pc:spChg>
        <pc:spChg chg="add mod">
          <ac:chgData name="Takaaki Masaki" userId="56a88eee-ec65-40f9-8642-be59fd24ba9b" providerId="ADAL" clId="{B854D024-8FF7-452B-B2F9-8E2041F90BBF}" dt="2024-04-16T01:13:36.598" v="5087" actId="478"/>
          <ac:spMkLst>
            <pc:docMk/>
            <pc:sldMk cId="1694956693" sldId="398"/>
            <ac:spMk id="6" creationId="{C2FE5CE6-0BA4-2912-48F0-616EAC3E9E46}"/>
          </ac:spMkLst>
        </pc:spChg>
      </pc:sldChg>
      <pc:sldChg chg="addSp delSp modSp add del mod">
        <pc:chgData name="Takaaki Masaki" userId="56a88eee-ec65-40f9-8642-be59fd24ba9b" providerId="ADAL" clId="{B854D024-8FF7-452B-B2F9-8E2041F90BBF}" dt="2024-04-16T01:14:00.015" v="5097" actId="47"/>
        <pc:sldMkLst>
          <pc:docMk/>
          <pc:sldMk cId="3088195857" sldId="399"/>
        </pc:sldMkLst>
        <pc:spChg chg="mod">
          <ac:chgData name="Takaaki Masaki" userId="56a88eee-ec65-40f9-8642-be59fd24ba9b" providerId="ADAL" clId="{B854D024-8FF7-452B-B2F9-8E2041F90BBF}" dt="2024-04-16T01:11:01.717" v="5084" actId="20577"/>
          <ac:spMkLst>
            <pc:docMk/>
            <pc:sldMk cId="3088195857" sldId="399"/>
            <ac:spMk id="2" creationId="{90D0FF2E-2620-4EB1-A986-02CA3AA912A8}"/>
          </ac:spMkLst>
        </pc:spChg>
        <pc:spChg chg="del">
          <ac:chgData name="Takaaki Masaki" userId="56a88eee-ec65-40f9-8642-be59fd24ba9b" providerId="ADAL" clId="{B854D024-8FF7-452B-B2F9-8E2041F90BBF}" dt="2024-04-16T01:11:04.551" v="5085" actId="478"/>
          <ac:spMkLst>
            <pc:docMk/>
            <pc:sldMk cId="3088195857" sldId="399"/>
            <ac:spMk id="3" creationId="{B894210C-9002-4DA4-9DD8-4CF05F405920}"/>
          </ac:spMkLst>
        </pc:spChg>
        <pc:spChg chg="add del mod">
          <ac:chgData name="Takaaki Masaki" userId="56a88eee-ec65-40f9-8642-be59fd24ba9b" providerId="ADAL" clId="{B854D024-8FF7-452B-B2F9-8E2041F90BBF}" dt="2024-04-16T01:11:07.661" v="5086" actId="478"/>
          <ac:spMkLst>
            <pc:docMk/>
            <pc:sldMk cId="3088195857" sldId="399"/>
            <ac:spMk id="6" creationId="{2B7BD630-6735-8DEF-4299-65EA0F73F8C8}"/>
          </ac:spMkLst>
        </pc:spChg>
      </pc:sldChg>
      <pc:sldChg chg="modSp add mod">
        <pc:chgData name="Takaaki Masaki" userId="56a88eee-ec65-40f9-8642-be59fd24ba9b" providerId="ADAL" clId="{B854D024-8FF7-452B-B2F9-8E2041F90BBF}" dt="2024-04-16T01:22:59.703" v="5453" actId="1076"/>
        <pc:sldMkLst>
          <pc:docMk/>
          <pc:sldMk cId="2567304454" sldId="400"/>
        </pc:sldMkLst>
        <pc:spChg chg="mod">
          <ac:chgData name="Takaaki Masaki" userId="56a88eee-ec65-40f9-8642-be59fd24ba9b" providerId="ADAL" clId="{B854D024-8FF7-452B-B2F9-8E2041F90BBF}" dt="2024-04-16T01:03:32.444" v="4862" actId="20577"/>
          <ac:spMkLst>
            <pc:docMk/>
            <pc:sldMk cId="2567304454" sldId="400"/>
            <ac:spMk id="2" creationId="{90D0FF2E-2620-4EB1-A986-02CA3AA912A8}"/>
          </ac:spMkLst>
        </pc:spChg>
        <pc:spChg chg="mod">
          <ac:chgData name="Takaaki Masaki" userId="56a88eee-ec65-40f9-8642-be59fd24ba9b" providerId="ADAL" clId="{B854D024-8FF7-452B-B2F9-8E2041F90BBF}" dt="2024-04-16T01:22:59.703" v="5453" actId="1076"/>
          <ac:spMkLst>
            <pc:docMk/>
            <pc:sldMk cId="2567304454" sldId="400"/>
            <ac:spMk id="6" creationId="{D8225931-D0F2-2D66-8544-29315BFBE9E7}"/>
          </ac:spMkLst>
        </pc:spChg>
      </pc:sldChg>
      <pc:sldChg chg="new del">
        <pc:chgData name="Takaaki Masaki" userId="56a88eee-ec65-40f9-8642-be59fd24ba9b" providerId="ADAL" clId="{B854D024-8FF7-452B-B2F9-8E2041F90BBF}" dt="2024-04-16T01:03:20.803" v="4833" actId="680"/>
        <pc:sldMkLst>
          <pc:docMk/>
          <pc:sldMk cId="4086806906" sldId="400"/>
        </pc:sldMkLst>
      </pc:sldChg>
      <pc:sldChg chg="modSp add del mod">
        <pc:chgData name="Takaaki Masaki" userId="56a88eee-ec65-40f9-8642-be59fd24ba9b" providerId="ADAL" clId="{B854D024-8FF7-452B-B2F9-8E2041F90BBF}" dt="2024-04-16T01:14:00.978" v="5098" actId="47"/>
        <pc:sldMkLst>
          <pc:docMk/>
          <pc:sldMk cId="2778098945" sldId="401"/>
        </pc:sldMkLst>
        <pc:spChg chg="mod">
          <ac:chgData name="Takaaki Masaki" userId="56a88eee-ec65-40f9-8642-be59fd24ba9b" providerId="ADAL" clId="{B854D024-8FF7-452B-B2F9-8E2041F90BBF}" dt="2024-04-16T01:13:43.944" v="5091" actId="20577"/>
          <ac:spMkLst>
            <pc:docMk/>
            <pc:sldMk cId="2778098945" sldId="401"/>
            <ac:spMk id="2" creationId="{90D0FF2E-2620-4EB1-A986-02CA3AA912A8}"/>
          </ac:spMkLst>
        </pc:spChg>
      </pc:sldChg>
      <pc:sldChg chg="new del">
        <pc:chgData name="Takaaki Masaki" userId="56a88eee-ec65-40f9-8642-be59fd24ba9b" providerId="ADAL" clId="{B854D024-8FF7-452B-B2F9-8E2041F90BBF}" dt="2024-04-16T01:14:12.304" v="5100" actId="47"/>
        <pc:sldMkLst>
          <pc:docMk/>
          <pc:sldMk cId="2868065524" sldId="401"/>
        </pc:sldMkLst>
      </pc:sldChg>
      <pc:sldChg chg="addSp delSp modSp add mod">
        <pc:chgData name="Takaaki Masaki" userId="56a88eee-ec65-40f9-8642-be59fd24ba9b" providerId="ADAL" clId="{B854D024-8FF7-452B-B2F9-8E2041F90BBF}" dt="2024-04-16T01:22:03.028" v="5424" actId="113"/>
        <pc:sldMkLst>
          <pc:docMk/>
          <pc:sldMk cId="2918255432" sldId="401"/>
        </pc:sldMkLst>
        <pc:spChg chg="mod">
          <ac:chgData name="Takaaki Masaki" userId="56a88eee-ec65-40f9-8642-be59fd24ba9b" providerId="ADAL" clId="{B854D024-8FF7-452B-B2F9-8E2041F90BBF}" dt="2024-04-16T01:14:25.848" v="5149" actId="20577"/>
          <ac:spMkLst>
            <pc:docMk/>
            <pc:sldMk cId="2918255432" sldId="401"/>
            <ac:spMk id="2" creationId="{251BFEA5-E3BD-F66C-3D9D-9E4BFE3436A1}"/>
          </ac:spMkLst>
        </pc:spChg>
        <pc:spChg chg="del">
          <ac:chgData name="Takaaki Masaki" userId="56a88eee-ec65-40f9-8642-be59fd24ba9b" providerId="ADAL" clId="{B854D024-8FF7-452B-B2F9-8E2041F90BBF}" dt="2024-04-16T01:14:29.049" v="5150" actId="478"/>
          <ac:spMkLst>
            <pc:docMk/>
            <pc:sldMk cId="2918255432" sldId="401"/>
            <ac:spMk id="3" creationId="{B7F0B3CF-5933-8DA2-CB89-697D2CFC46EF}"/>
          </ac:spMkLst>
        </pc:spChg>
        <pc:spChg chg="add del mod">
          <ac:chgData name="Takaaki Masaki" userId="56a88eee-ec65-40f9-8642-be59fd24ba9b" providerId="ADAL" clId="{B854D024-8FF7-452B-B2F9-8E2041F90BBF}" dt="2024-04-16T01:14:33.825" v="5151" actId="478"/>
          <ac:spMkLst>
            <pc:docMk/>
            <pc:sldMk cId="2918255432" sldId="401"/>
            <ac:spMk id="6" creationId="{8DCDE56C-6E19-45B4-6FA0-EC68F7E39BBC}"/>
          </ac:spMkLst>
        </pc:spChg>
        <pc:graphicFrameChg chg="add del mod modGraphic">
          <ac:chgData name="Takaaki Masaki" userId="56a88eee-ec65-40f9-8642-be59fd24ba9b" providerId="ADAL" clId="{B854D024-8FF7-452B-B2F9-8E2041F90BBF}" dt="2024-04-16T01:16:06.452" v="5201" actId="478"/>
          <ac:graphicFrameMkLst>
            <pc:docMk/>
            <pc:sldMk cId="2918255432" sldId="401"/>
            <ac:graphicFrameMk id="7" creationId="{D36D59E1-8597-ED43-6D2C-9024C866E9A1}"/>
          </ac:graphicFrameMkLst>
        </pc:graphicFrameChg>
        <pc:graphicFrameChg chg="add mod modGraphic">
          <ac:chgData name="Takaaki Masaki" userId="56a88eee-ec65-40f9-8642-be59fd24ba9b" providerId="ADAL" clId="{B854D024-8FF7-452B-B2F9-8E2041F90BBF}" dt="2024-04-16T01:22:03.028" v="5424" actId="113"/>
          <ac:graphicFrameMkLst>
            <pc:docMk/>
            <pc:sldMk cId="2918255432" sldId="401"/>
            <ac:graphicFrameMk id="9" creationId="{9BAA0D0C-3037-4FF1-2373-908D34C67B46}"/>
          </ac:graphicFrameMkLst>
        </pc:graphicFrameChg>
        <pc:picChg chg="del">
          <ac:chgData name="Takaaki Masaki" userId="56a88eee-ec65-40f9-8642-be59fd24ba9b" providerId="ADAL" clId="{B854D024-8FF7-452B-B2F9-8E2041F90BBF}" dt="2024-04-16T01:14:21.011" v="5128" actId="478"/>
          <ac:picMkLst>
            <pc:docMk/>
            <pc:sldMk cId="2918255432" sldId="401"/>
            <ac:picMk id="8" creationId="{12A3F548-F87F-6D51-9F24-DCA95AE8103F}"/>
          </ac:picMkLst>
        </pc:picChg>
      </pc:sldChg>
      <pc:sldChg chg="add del">
        <pc:chgData name="Takaaki Masaki" userId="56a88eee-ec65-40f9-8642-be59fd24ba9b" providerId="ADAL" clId="{B854D024-8FF7-452B-B2F9-8E2041F90BBF}" dt="2024-04-16T01:13:46.682" v="5092" actId="47"/>
        <pc:sldMkLst>
          <pc:docMk/>
          <pc:sldMk cId="1446521221" sldId="402"/>
        </pc:sldMkLst>
      </pc:sldChg>
      <pc:sldChg chg="addSp delSp modSp new del mod">
        <pc:chgData name="Takaaki Masaki" userId="56a88eee-ec65-40f9-8642-be59fd24ba9b" providerId="ADAL" clId="{B854D024-8FF7-452B-B2F9-8E2041F90BBF}" dt="2024-04-16T01:22:43.889" v="5452" actId="47"/>
        <pc:sldMkLst>
          <pc:docMk/>
          <pc:sldMk cId="2258337404" sldId="402"/>
        </pc:sldMkLst>
        <pc:spChg chg="del mod">
          <ac:chgData name="Takaaki Masaki" userId="56a88eee-ec65-40f9-8642-be59fd24ba9b" providerId="ADAL" clId="{B854D024-8FF7-452B-B2F9-8E2041F90BBF}" dt="2024-04-16T01:22:42.341" v="5451" actId="478"/>
          <ac:spMkLst>
            <pc:docMk/>
            <pc:sldMk cId="2258337404" sldId="402"/>
            <ac:spMk id="2" creationId="{47907C12-2FB8-2F1A-C4CB-345C0C378875}"/>
          </ac:spMkLst>
        </pc:spChg>
        <pc:spChg chg="del mod">
          <ac:chgData name="Takaaki Masaki" userId="56a88eee-ec65-40f9-8642-be59fd24ba9b" providerId="ADAL" clId="{B854D024-8FF7-452B-B2F9-8E2041F90BBF}" dt="2024-04-16T01:22:31.968" v="5433" actId="478"/>
          <ac:spMkLst>
            <pc:docMk/>
            <pc:sldMk cId="2258337404" sldId="402"/>
            <ac:spMk id="3" creationId="{ADE4198C-F5F6-62F0-69F9-F2B564658C29}"/>
          </ac:spMkLst>
        </pc:spChg>
        <pc:spChg chg="add mod">
          <ac:chgData name="Takaaki Masaki" userId="56a88eee-ec65-40f9-8642-be59fd24ba9b" providerId="ADAL" clId="{B854D024-8FF7-452B-B2F9-8E2041F90BBF}" dt="2024-04-16T01:22:42.341" v="5451" actId="478"/>
          <ac:spMkLst>
            <pc:docMk/>
            <pc:sldMk cId="2258337404" sldId="402"/>
            <ac:spMk id="7" creationId="{C13A33B3-DCB9-B92C-557A-677B4FD6D135}"/>
          </ac:spMkLst>
        </pc:spChg>
      </pc:sldChg>
      <pc:sldChg chg="addSp delSp modSp new mod">
        <pc:chgData name="Takaaki Masaki" userId="56a88eee-ec65-40f9-8642-be59fd24ba9b" providerId="ADAL" clId="{B854D024-8FF7-452B-B2F9-8E2041F90BBF}" dt="2024-04-16T01:25:28.205" v="5503" actId="20577"/>
        <pc:sldMkLst>
          <pc:docMk/>
          <pc:sldMk cId="4064624480" sldId="402"/>
        </pc:sldMkLst>
        <pc:spChg chg="mod">
          <ac:chgData name="Takaaki Masaki" userId="56a88eee-ec65-40f9-8642-be59fd24ba9b" providerId="ADAL" clId="{B854D024-8FF7-452B-B2F9-8E2041F90BBF}" dt="2024-04-16T01:25:28.205" v="5503" actId="20577"/>
          <ac:spMkLst>
            <pc:docMk/>
            <pc:sldMk cId="4064624480" sldId="402"/>
            <ac:spMk id="2" creationId="{0BA5E8F7-0ED0-8734-A592-F01615A31A09}"/>
          </ac:spMkLst>
        </pc:spChg>
        <pc:spChg chg="del">
          <ac:chgData name="Takaaki Masaki" userId="56a88eee-ec65-40f9-8642-be59fd24ba9b" providerId="ADAL" clId="{B854D024-8FF7-452B-B2F9-8E2041F90BBF}" dt="2024-04-16T01:25:16.173" v="5469" actId="22"/>
          <ac:spMkLst>
            <pc:docMk/>
            <pc:sldMk cId="4064624480" sldId="402"/>
            <ac:spMk id="3" creationId="{90D58C5F-2E66-05CA-A5E2-267C6A3C3615}"/>
          </ac:spMkLst>
        </pc:spChg>
        <pc:picChg chg="add mod ord">
          <ac:chgData name="Takaaki Masaki" userId="56a88eee-ec65-40f9-8642-be59fd24ba9b" providerId="ADAL" clId="{B854D024-8FF7-452B-B2F9-8E2041F90BBF}" dt="2024-04-16T01:25:16.173" v="5469" actId="22"/>
          <ac:picMkLst>
            <pc:docMk/>
            <pc:sldMk cId="4064624480" sldId="402"/>
            <ac:picMk id="7" creationId="{DDA77ED1-B45D-6873-AE1E-6A4DD47DAAE0}"/>
          </ac:picMkLst>
        </pc:picChg>
      </pc:sldChg>
      <pc:sldChg chg="addSp delSp modSp new mod">
        <pc:chgData name="Takaaki Masaki" userId="56a88eee-ec65-40f9-8642-be59fd24ba9b" providerId="ADAL" clId="{B854D024-8FF7-452B-B2F9-8E2041F90BBF}" dt="2024-04-16T01:29:48.282" v="5541" actId="22"/>
        <pc:sldMkLst>
          <pc:docMk/>
          <pc:sldMk cId="2252220005" sldId="403"/>
        </pc:sldMkLst>
        <pc:spChg chg="mod">
          <ac:chgData name="Takaaki Masaki" userId="56a88eee-ec65-40f9-8642-be59fd24ba9b" providerId="ADAL" clId="{B854D024-8FF7-452B-B2F9-8E2041F90BBF}" dt="2024-04-16T01:27:50.475" v="5540" actId="20577"/>
          <ac:spMkLst>
            <pc:docMk/>
            <pc:sldMk cId="2252220005" sldId="403"/>
            <ac:spMk id="2" creationId="{7BB9BD9E-5DC0-83B2-DCA0-4B27FB4E0A16}"/>
          </ac:spMkLst>
        </pc:spChg>
        <pc:spChg chg="del">
          <ac:chgData name="Takaaki Masaki" userId="56a88eee-ec65-40f9-8642-be59fd24ba9b" providerId="ADAL" clId="{B854D024-8FF7-452B-B2F9-8E2041F90BBF}" dt="2024-04-16T01:29:48.282" v="5541" actId="22"/>
          <ac:spMkLst>
            <pc:docMk/>
            <pc:sldMk cId="2252220005" sldId="403"/>
            <ac:spMk id="3" creationId="{6B57C7B0-F8C3-1D3E-647F-DABD8BBD4769}"/>
          </ac:spMkLst>
        </pc:spChg>
        <pc:picChg chg="add mod ord">
          <ac:chgData name="Takaaki Masaki" userId="56a88eee-ec65-40f9-8642-be59fd24ba9b" providerId="ADAL" clId="{B854D024-8FF7-452B-B2F9-8E2041F90BBF}" dt="2024-04-16T01:29:48.282" v="5541" actId="22"/>
          <ac:picMkLst>
            <pc:docMk/>
            <pc:sldMk cId="2252220005" sldId="403"/>
            <ac:picMk id="7" creationId="{B72CBD9A-DB12-6D1F-E5F9-64FD7C40DFD5}"/>
          </ac:picMkLst>
        </pc:picChg>
      </pc:sldChg>
      <pc:sldChg chg="addSp delSp modSp new mod">
        <pc:chgData name="Takaaki Masaki" userId="56a88eee-ec65-40f9-8642-be59fd24ba9b" providerId="ADAL" clId="{B854D024-8FF7-452B-B2F9-8E2041F90BBF}" dt="2024-04-16T01:31:34.050" v="5581" actId="22"/>
        <pc:sldMkLst>
          <pc:docMk/>
          <pc:sldMk cId="3549357860" sldId="404"/>
        </pc:sldMkLst>
        <pc:spChg chg="mod">
          <ac:chgData name="Takaaki Masaki" userId="56a88eee-ec65-40f9-8642-be59fd24ba9b" providerId="ADAL" clId="{B854D024-8FF7-452B-B2F9-8E2041F90BBF}" dt="2024-04-16T01:30:31.419" v="5580" actId="20577"/>
          <ac:spMkLst>
            <pc:docMk/>
            <pc:sldMk cId="3549357860" sldId="404"/>
            <ac:spMk id="2" creationId="{1B7C63BB-D867-4DA0-A7D6-808A527E23C1}"/>
          </ac:spMkLst>
        </pc:spChg>
        <pc:spChg chg="del">
          <ac:chgData name="Takaaki Masaki" userId="56a88eee-ec65-40f9-8642-be59fd24ba9b" providerId="ADAL" clId="{B854D024-8FF7-452B-B2F9-8E2041F90BBF}" dt="2024-04-16T01:31:34.050" v="5581" actId="22"/>
          <ac:spMkLst>
            <pc:docMk/>
            <pc:sldMk cId="3549357860" sldId="404"/>
            <ac:spMk id="3" creationId="{CF26CC8A-C5BC-B61F-79FB-4091DA58DE1A}"/>
          </ac:spMkLst>
        </pc:spChg>
        <pc:picChg chg="add mod ord">
          <ac:chgData name="Takaaki Masaki" userId="56a88eee-ec65-40f9-8642-be59fd24ba9b" providerId="ADAL" clId="{B854D024-8FF7-452B-B2F9-8E2041F90BBF}" dt="2024-04-16T01:31:34.050" v="5581" actId="22"/>
          <ac:picMkLst>
            <pc:docMk/>
            <pc:sldMk cId="3549357860" sldId="404"/>
            <ac:picMk id="7" creationId="{80B487B3-CD3B-0435-EA58-B973CBEE7B20}"/>
          </ac:picMkLst>
        </pc:picChg>
      </pc:sldChg>
      <pc:sldChg chg="addSp modSp new mod">
        <pc:chgData name="Takaaki Masaki" userId="56a88eee-ec65-40f9-8642-be59fd24ba9b" providerId="ADAL" clId="{B854D024-8FF7-452B-B2F9-8E2041F90BBF}" dt="2024-04-16T01:36:05.627" v="5671" actId="1076"/>
        <pc:sldMkLst>
          <pc:docMk/>
          <pc:sldMk cId="1417640329" sldId="405"/>
        </pc:sldMkLst>
        <pc:spChg chg="mod">
          <ac:chgData name="Takaaki Masaki" userId="56a88eee-ec65-40f9-8642-be59fd24ba9b" providerId="ADAL" clId="{B854D024-8FF7-452B-B2F9-8E2041F90BBF}" dt="2024-04-16T01:33:17.883" v="5625" actId="20577"/>
          <ac:spMkLst>
            <pc:docMk/>
            <pc:sldMk cId="1417640329" sldId="405"/>
            <ac:spMk id="2" creationId="{8CC82724-C361-6B0C-CB99-00E5F015F2DC}"/>
          </ac:spMkLst>
        </pc:spChg>
        <pc:spChg chg="mod">
          <ac:chgData name="Takaaki Masaki" userId="56a88eee-ec65-40f9-8642-be59fd24ba9b" providerId="ADAL" clId="{B854D024-8FF7-452B-B2F9-8E2041F90BBF}" dt="2024-04-16T01:34:15.992" v="5669" actId="20577"/>
          <ac:spMkLst>
            <pc:docMk/>
            <pc:sldMk cId="1417640329" sldId="405"/>
            <ac:spMk id="3" creationId="{2B569050-D57B-0E62-9D14-66F3D811CDAE}"/>
          </ac:spMkLst>
        </pc:spChg>
        <pc:picChg chg="add mod">
          <ac:chgData name="Takaaki Masaki" userId="56a88eee-ec65-40f9-8642-be59fd24ba9b" providerId="ADAL" clId="{B854D024-8FF7-452B-B2F9-8E2041F90BBF}" dt="2024-04-16T01:36:05.627" v="5671" actId="1076"/>
          <ac:picMkLst>
            <pc:docMk/>
            <pc:sldMk cId="1417640329" sldId="405"/>
            <ac:picMk id="7" creationId="{0D9CBB4A-1438-5995-F783-D3ADE902B97D}"/>
          </ac:picMkLst>
        </pc:picChg>
      </pc:sldChg>
      <pc:sldChg chg="addSp delSp modSp new mod">
        <pc:chgData name="Takaaki Masaki" userId="56a88eee-ec65-40f9-8642-be59fd24ba9b" providerId="ADAL" clId="{B854D024-8FF7-452B-B2F9-8E2041F90BBF}" dt="2024-04-16T02:00:22.201" v="6290" actId="22"/>
        <pc:sldMkLst>
          <pc:docMk/>
          <pc:sldMk cId="3529038993" sldId="406"/>
        </pc:sldMkLst>
        <pc:spChg chg="mod">
          <ac:chgData name="Takaaki Masaki" userId="56a88eee-ec65-40f9-8642-be59fd24ba9b" providerId="ADAL" clId="{B854D024-8FF7-452B-B2F9-8E2041F90BBF}" dt="2024-04-16T02:00:10.303" v="6286" actId="20577"/>
          <ac:spMkLst>
            <pc:docMk/>
            <pc:sldMk cId="3529038993" sldId="406"/>
            <ac:spMk id="2" creationId="{8A7492A7-0B38-4B2C-3C24-6C55FF08F590}"/>
          </ac:spMkLst>
        </pc:spChg>
        <pc:spChg chg="mod">
          <ac:chgData name="Takaaki Masaki" userId="56a88eee-ec65-40f9-8642-be59fd24ba9b" providerId="ADAL" clId="{B854D024-8FF7-452B-B2F9-8E2041F90BBF}" dt="2024-04-16T01:59:44.869" v="6279" actId="20577"/>
          <ac:spMkLst>
            <pc:docMk/>
            <pc:sldMk cId="3529038993" sldId="406"/>
            <ac:spMk id="3" creationId="{30A8AF0D-5184-8770-2341-7714174405D9}"/>
          </ac:spMkLst>
        </pc:spChg>
        <pc:spChg chg="add del">
          <ac:chgData name="Takaaki Masaki" userId="56a88eee-ec65-40f9-8642-be59fd24ba9b" providerId="ADAL" clId="{B854D024-8FF7-452B-B2F9-8E2041F90BBF}" dt="2024-04-16T02:00:19.597" v="6288" actId="22"/>
          <ac:spMkLst>
            <pc:docMk/>
            <pc:sldMk cId="3529038993" sldId="406"/>
            <ac:spMk id="7" creationId="{5F3626DA-E855-6798-CA80-522518F93C3A}"/>
          </ac:spMkLst>
        </pc:spChg>
        <pc:spChg chg="add del">
          <ac:chgData name="Takaaki Masaki" userId="56a88eee-ec65-40f9-8642-be59fd24ba9b" providerId="ADAL" clId="{B854D024-8FF7-452B-B2F9-8E2041F90BBF}" dt="2024-04-16T02:00:22.201" v="6290" actId="22"/>
          <ac:spMkLst>
            <pc:docMk/>
            <pc:sldMk cId="3529038993" sldId="406"/>
            <ac:spMk id="9" creationId="{FF2A765E-A358-E92A-20EF-54F6DD825968}"/>
          </ac:spMkLst>
        </pc:spChg>
      </pc:sldChg>
      <pc:sldChg chg="modSp new mod">
        <pc:chgData name="Takaaki Masaki" userId="56a88eee-ec65-40f9-8642-be59fd24ba9b" providerId="ADAL" clId="{B854D024-8FF7-452B-B2F9-8E2041F90BBF}" dt="2024-04-16T02:00:37.737" v="6337" actId="20577"/>
        <pc:sldMkLst>
          <pc:docMk/>
          <pc:sldMk cId="3765743482" sldId="407"/>
        </pc:sldMkLst>
        <pc:spChg chg="mod">
          <ac:chgData name="Takaaki Masaki" userId="56a88eee-ec65-40f9-8642-be59fd24ba9b" providerId="ADAL" clId="{B854D024-8FF7-452B-B2F9-8E2041F90BBF}" dt="2024-04-16T02:00:37.737" v="6337" actId="20577"/>
          <ac:spMkLst>
            <pc:docMk/>
            <pc:sldMk cId="3765743482" sldId="407"/>
            <ac:spMk id="2" creationId="{B0E843B3-BC3C-F710-6A84-27C4E12157BF}"/>
          </ac:spMkLst>
        </pc:spChg>
      </pc:sldChg>
      <pc:sldChg chg="delSp new del mod">
        <pc:chgData name="Takaaki Masaki" userId="56a88eee-ec65-40f9-8642-be59fd24ba9b" providerId="ADAL" clId="{B854D024-8FF7-452B-B2F9-8E2041F90BBF}" dt="2024-04-16T02:03:28.992" v="6352" actId="47"/>
        <pc:sldMkLst>
          <pc:docMk/>
          <pc:sldMk cId="3613431818" sldId="408"/>
        </pc:sldMkLst>
        <pc:spChg chg="del">
          <ac:chgData name="Takaaki Masaki" userId="56a88eee-ec65-40f9-8642-be59fd24ba9b" providerId="ADAL" clId="{B854D024-8FF7-452B-B2F9-8E2041F90BBF}" dt="2024-04-16T02:03:22.560" v="6350" actId="478"/>
          <ac:spMkLst>
            <pc:docMk/>
            <pc:sldMk cId="3613431818" sldId="408"/>
            <ac:spMk id="2" creationId="{975EDAC3-807D-2ABD-5F40-6202DFD45972}"/>
          </ac:spMkLst>
        </pc:spChg>
        <pc:spChg chg="del">
          <ac:chgData name="Takaaki Masaki" userId="56a88eee-ec65-40f9-8642-be59fd24ba9b" providerId="ADAL" clId="{B854D024-8FF7-452B-B2F9-8E2041F90BBF}" dt="2024-04-16T02:03:24.452" v="6351" actId="478"/>
          <ac:spMkLst>
            <pc:docMk/>
            <pc:sldMk cId="3613431818" sldId="408"/>
            <ac:spMk id="3" creationId="{BECB1389-CB0B-BC7A-A14D-BBF07B992EA0}"/>
          </ac:spMkLst>
        </pc:spChg>
      </pc:sldChg>
      <pc:sldChg chg="modSp add mod">
        <pc:chgData name="Takaaki Masaki" userId="56a88eee-ec65-40f9-8642-be59fd24ba9b" providerId="ADAL" clId="{B854D024-8FF7-452B-B2F9-8E2041F90BBF}" dt="2024-04-16T06:16:33.406" v="7900" actId="20577"/>
        <pc:sldMkLst>
          <pc:docMk/>
          <pc:sldMk cId="4251493382" sldId="408"/>
        </pc:sldMkLst>
        <pc:spChg chg="mod">
          <ac:chgData name="Takaaki Masaki" userId="56a88eee-ec65-40f9-8642-be59fd24ba9b" providerId="ADAL" clId="{B854D024-8FF7-452B-B2F9-8E2041F90BBF}" dt="2024-04-16T02:03:46.911" v="6375" actId="20577"/>
          <ac:spMkLst>
            <pc:docMk/>
            <pc:sldMk cId="4251493382" sldId="408"/>
            <ac:spMk id="2" creationId="{18772FE0-9CC7-8E4F-A04D-DFD4A2C11F45}"/>
          </ac:spMkLst>
        </pc:spChg>
        <pc:spChg chg="mod">
          <ac:chgData name="Takaaki Masaki" userId="56a88eee-ec65-40f9-8642-be59fd24ba9b" providerId="ADAL" clId="{B854D024-8FF7-452B-B2F9-8E2041F90BBF}" dt="2024-04-16T06:16:33.406" v="7900" actId="20577"/>
          <ac:spMkLst>
            <pc:docMk/>
            <pc:sldMk cId="4251493382" sldId="408"/>
            <ac:spMk id="3" creationId="{35687254-75A8-3D93-A988-32C7B33F1C6E}"/>
          </ac:spMkLst>
        </pc:spChg>
      </pc:sldChg>
      <pc:sldChg chg="addSp delSp modSp add mod">
        <pc:chgData name="Takaaki Masaki" userId="56a88eee-ec65-40f9-8642-be59fd24ba9b" providerId="ADAL" clId="{B854D024-8FF7-452B-B2F9-8E2041F90BBF}" dt="2024-04-16T03:05:09.807" v="7457" actId="20577"/>
        <pc:sldMkLst>
          <pc:docMk/>
          <pc:sldMk cId="2976705690" sldId="409"/>
        </pc:sldMkLst>
        <pc:spChg chg="mod">
          <ac:chgData name="Takaaki Masaki" userId="56a88eee-ec65-40f9-8642-be59fd24ba9b" providerId="ADAL" clId="{B854D024-8FF7-452B-B2F9-8E2041F90BBF}" dt="2024-04-16T03:05:09.807" v="7457" actId="20577"/>
          <ac:spMkLst>
            <pc:docMk/>
            <pc:sldMk cId="2976705690" sldId="409"/>
            <ac:spMk id="3" creationId="{35687254-75A8-3D93-A988-32C7B33F1C6E}"/>
          </ac:spMkLst>
        </pc:spChg>
        <pc:spChg chg="add del">
          <ac:chgData name="Takaaki Masaki" userId="56a88eee-ec65-40f9-8642-be59fd24ba9b" providerId="ADAL" clId="{B854D024-8FF7-452B-B2F9-8E2041F90BBF}" dt="2024-04-16T03:02:22.805" v="7229" actId="22"/>
          <ac:spMkLst>
            <pc:docMk/>
            <pc:sldMk cId="2976705690" sldId="409"/>
            <ac:spMk id="6" creationId="{6D43C906-9357-ECF3-3565-76167EF2E1DB}"/>
          </ac:spMkLst>
        </pc:spChg>
        <pc:spChg chg="add del mod">
          <ac:chgData name="Takaaki Masaki" userId="56a88eee-ec65-40f9-8642-be59fd24ba9b" providerId="ADAL" clId="{B854D024-8FF7-452B-B2F9-8E2041F90BBF}" dt="2024-04-16T03:02:40.677" v="7237" actId="22"/>
          <ac:spMkLst>
            <pc:docMk/>
            <pc:sldMk cId="2976705690" sldId="409"/>
            <ac:spMk id="9" creationId="{B83A6C71-026F-E6FE-7ACD-3CDF6FA996E5}"/>
          </ac:spMkLst>
        </pc:spChg>
        <pc:picChg chg="add del mod">
          <ac:chgData name="Takaaki Masaki" userId="56a88eee-ec65-40f9-8642-be59fd24ba9b" providerId="ADAL" clId="{B854D024-8FF7-452B-B2F9-8E2041F90BBF}" dt="2024-04-16T03:04:01.360" v="7240" actId="21"/>
          <ac:picMkLst>
            <pc:docMk/>
            <pc:sldMk cId="2976705690" sldId="409"/>
            <ac:picMk id="11" creationId="{70CBE846-CBF9-3DA6-30CC-BC414EBFD2F3}"/>
          </ac:picMkLst>
        </pc:picChg>
      </pc:sldChg>
      <pc:sldChg chg="addSp delSp modSp add mod addCm delCm modCm">
        <pc:chgData name="Takaaki Masaki" userId="56a88eee-ec65-40f9-8642-be59fd24ba9b" providerId="ADAL" clId="{B854D024-8FF7-452B-B2F9-8E2041F90BBF}" dt="2024-04-16T06:38:51.713" v="7992" actId="20577"/>
        <pc:sldMkLst>
          <pc:docMk/>
          <pc:sldMk cId="4052735160" sldId="410"/>
        </pc:sldMkLst>
        <pc:spChg chg="mod">
          <ac:chgData name="Takaaki Masaki" userId="56a88eee-ec65-40f9-8642-be59fd24ba9b" providerId="ADAL" clId="{B854D024-8FF7-452B-B2F9-8E2041F90BBF}" dt="2024-04-16T06:38:51.713" v="7992" actId="20577"/>
          <ac:spMkLst>
            <pc:docMk/>
            <pc:sldMk cId="4052735160" sldId="410"/>
            <ac:spMk id="2" creationId="{18772FE0-9CC7-8E4F-A04D-DFD4A2C11F45}"/>
          </ac:spMkLst>
        </pc:spChg>
        <pc:spChg chg="del mod">
          <ac:chgData name="Takaaki Masaki" userId="56a88eee-ec65-40f9-8642-be59fd24ba9b" providerId="ADAL" clId="{B854D024-8FF7-452B-B2F9-8E2041F90BBF}" dt="2024-04-16T02:36:45.176" v="7224" actId="478"/>
          <ac:spMkLst>
            <pc:docMk/>
            <pc:sldMk cId="4052735160" sldId="410"/>
            <ac:spMk id="3" creationId="{35687254-75A8-3D93-A988-32C7B33F1C6E}"/>
          </ac:spMkLst>
        </pc:spChg>
        <pc:picChg chg="add del mod">
          <ac:chgData name="Takaaki Masaki" userId="56a88eee-ec65-40f9-8642-be59fd24ba9b" providerId="ADAL" clId="{B854D024-8FF7-452B-B2F9-8E2041F90BBF}" dt="2024-04-16T03:30:31.033" v="7525" actId="478"/>
          <ac:picMkLst>
            <pc:docMk/>
            <pc:sldMk cId="4052735160" sldId="410"/>
            <ac:picMk id="4" creationId="{B038B10B-D222-AEE1-A277-9743A9DD096C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add del mod">
              <pc226:chgData name="Takaaki Masaki" userId="56a88eee-ec65-40f9-8642-be59fd24ba9b" providerId="ADAL" clId="{B854D024-8FF7-452B-B2F9-8E2041F90BBF}" dt="2024-04-16T03:07:22.807" v="7505"/>
              <pc2:cmMkLst xmlns:pc2="http://schemas.microsoft.com/office/powerpoint/2019/9/main/command">
                <pc:docMk/>
                <pc:sldMk cId="4052735160" sldId="410"/>
                <pc2:cmMk id="{ADA5A834-7D56-4494-BE7A-72F84DC420AD}"/>
              </pc2:cmMkLst>
            </pc226:cmChg>
          </p:ext>
        </pc:extLst>
      </pc:sldChg>
      <pc:sldChg chg="addSp delSp modSp add mod delCm modCm">
        <pc:chgData name="Takaaki Masaki" userId="56a88eee-ec65-40f9-8642-be59fd24ba9b" providerId="ADAL" clId="{B854D024-8FF7-452B-B2F9-8E2041F90BBF}" dt="2024-04-16T03:32:17.557" v="7542" actId="14100"/>
        <pc:sldMkLst>
          <pc:docMk/>
          <pc:sldMk cId="3674562387" sldId="411"/>
        </pc:sldMkLst>
        <pc:spChg chg="mod">
          <ac:chgData name="Takaaki Masaki" userId="56a88eee-ec65-40f9-8642-be59fd24ba9b" providerId="ADAL" clId="{B854D024-8FF7-452B-B2F9-8E2041F90BBF}" dt="2024-04-16T03:07:14.074" v="7503" actId="20577"/>
          <ac:spMkLst>
            <pc:docMk/>
            <pc:sldMk cId="3674562387" sldId="411"/>
            <ac:spMk id="2" creationId="{18772FE0-9CC7-8E4F-A04D-DFD4A2C11F45}"/>
          </ac:spMkLst>
        </pc:spChg>
        <pc:spChg chg="add mod">
          <ac:chgData name="Takaaki Masaki" userId="56a88eee-ec65-40f9-8642-be59fd24ba9b" providerId="ADAL" clId="{B854D024-8FF7-452B-B2F9-8E2041F90BBF}" dt="2024-04-16T03:08:56.574" v="7524" actId="20577"/>
          <ac:spMkLst>
            <pc:docMk/>
            <pc:sldMk cId="3674562387" sldId="411"/>
            <ac:spMk id="3" creationId="{3B707632-D4D1-EA2A-584D-73B1343B7EBB}"/>
          </ac:spMkLst>
        </pc:spChg>
        <pc:picChg chg="del">
          <ac:chgData name="Takaaki Masaki" userId="56a88eee-ec65-40f9-8642-be59fd24ba9b" providerId="ADAL" clId="{B854D024-8FF7-452B-B2F9-8E2041F90BBF}" dt="2024-04-16T03:07:08.546" v="7487" actId="478"/>
          <ac:picMkLst>
            <pc:docMk/>
            <pc:sldMk cId="3674562387" sldId="411"/>
            <ac:picMk id="4" creationId="{B038B10B-D222-AEE1-A277-9743A9DD096C}"/>
          </ac:picMkLst>
        </pc:picChg>
        <pc:picChg chg="add mod ord">
          <ac:chgData name="Takaaki Masaki" userId="56a88eee-ec65-40f9-8642-be59fd24ba9b" providerId="ADAL" clId="{B854D024-8FF7-452B-B2F9-8E2041F90BBF}" dt="2024-04-16T03:31:24.950" v="7536" actId="14100"/>
          <ac:picMkLst>
            <pc:docMk/>
            <pc:sldMk cId="3674562387" sldId="411"/>
            <ac:picMk id="8" creationId="{B651A04F-8D15-B073-04AB-03CE0EBF56B1}"/>
          </ac:picMkLst>
        </pc:picChg>
        <pc:picChg chg="add mod ord">
          <ac:chgData name="Takaaki Masaki" userId="56a88eee-ec65-40f9-8642-be59fd24ba9b" providerId="ADAL" clId="{B854D024-8FF7-452B-B2F9-8E2041F90BBF}" dt="2024-04-16T03:31:20.719" v="7535" actId="14100"/>
          <ac:picMkLst>
            <pc:docMk/>
            <pc:sldMk cId="3674562387" sldId="411"/>
            <ac:picMk id="10" creationId="{BCD72DDB-A3A0-A16B-7DE3-1A4A4881BC98}"/>
          </ac:picMkLst>
        </pc:picChg>
        <pc:cxnChg chg="add mod">
          <ac:chgData name="Takaaki Masaki" userId="56a88eee-ec65-40f9-8642-be59fd24ba9b" providerId="ADAL" clId="{B854D024-8FF7-452B-B2F9-8E2041F90BBF}" dt="2024-04-16T03:32:17.557" v="7542" actId="14100"/>
          <ac:cxnSpMkLst>
            <pc:docMk/>
            <pc:sldMk cId="3674562387" sldId="411"/>
            <ac:cxnSpMk id="12" creationId="{174C157D-6918-1B59-FBF2-923D7F4A15AA}"/>
          </ac:cxnSpMkLst>
        </pc:cxnChg>
        <pc:extLst>
          <p:ext xmlns:p="http://schemas.openxmlformats.org/presentationml/2006/main" uri="{D6D511B9-2390-475A-947B-AFAB55BFBCF1}">
            <pc226:cmChg xmlns:pc226="http://schemas.microsoft.com/office/powerpoint/2022/06/main/command" chg="del mod">
              <pc226:chgData name="Takaaki Masaki" userId="56a88eee-ec65-40f9-8642-be59fd24ba9b" providerId="ADAL" clId="{B854D024-8FF7-452B-B2F9-8E2041F90BBF}" dt="2024-04-16T03:07:18.070" v="7504"/>
              <pc2:cmMkLst xmlns:pc2="http://schemas.microsoft.com/office/powerpoint/2019/9/main/command">
                <pc:docMk/>
                <pc:sldMk cId="3674562387" sldId="411"/>
                <pc2:cmMk id="{3AA27A36-9D80-4F68-8D76-CFC17EDBCE62}"/>
              </pc2:cmMkLst>
            </pc226:cmChg>
          </p:ext>
        </pc:extLst>
      </pc:sldChg>
      <pc:sldChg chg="addSp delSp modSp add mod">
        <pc:chgData name="Takaaki Masaki" userId="56a88eee-ec65-40f9-8642-be59fd24ba9b" providerId="ADAL" clId="{B854D024-8FF7-452B-B2F9-8E2041F90BBF}" dt="2024-04-16T06:50:45.111" v="8214" actId="1076"/>
        <pc:sldMkLst>
          <pc:docMk/>
          <pc:sldMk cId="3792973182" sldId="412"/>
        </pc:sldMkLst>
        <pc:spChg chg="mod">
          <ac:chgData name="Takaaki Masaki" userId="56a88eee-ec65-40f9-8642-be59fd24ba9b" providerId="ADAL" clId="{B854D024-8FF7-452B-B2F9-8E2041F90BBF}" dt="2024-04-16T06:40:58.256" v="8012" actId="20577"/>
          <ac:spMkLst>
            <pc:docMk/>
            <pc:sldMk cId="3792973182" sldId="412"/>
            <ac:spMk id="2" creationId="{18772FE0-9CC7-8E4F-A04D-DFD4A2C11F45}"/>
          </ac:spMkLst>
        </pc:spChg>
        <pc:spChg chg="add mod">
          <ac:chgData name="Takaaki Masaki" userId="56a88eee-ec65-40f9-8642-be59fd24ba9b" providerId="ADAL" clId="{B854D024-8FF7-452B-B2F9-8E2041F90BBF}" dt="2024-04-16T06:43:21.673" v="8036" actId="113"/>
          <ac:spMkLst>
            <pc:docMk/>
            <pc:sldMk cId="3792973182" sldId="412"/>
            <ac:spMk id="3" creationId="{740CBCDD-CA8F-C445-613A-86BDB0FAC944}"/>
          </ac:spMkLst>
        </pc:spChg>
        <pc:spChg chg="add del">
          <ac:chgData name="Takaaki Masaki" userId="56a88eee-ec65-40f9-8642-be59fd24ba9b" providerId="ADAL" clId="{B854D024-8FF7-452B-B2F9-8E2041F90BBF}" dt="2024-04-16T06:42:38.657" v="8019"/>
          <ac:spMkLst>
            <pc:docMk/>
            <pc:sldMk cId="3792973182" sldId="412"/>
            <ac:spMk id="4" creationId="{6AD09008-5E0C-3B81-058F-A2AAD87D7B0C}"/>
          </ac:spMkLst>
        </pc:spChg>
        <pc:spChg chg="add del">
          <ac:chgData name="Takaaki Masaki" userId="56a88eee-ec65-40f9-8642-be59fd24ba9b" providerId="ADAL" clId="{B854D024-8FF7-452B-B2F9-8E2041F90BBF}" dt="2024-04-16T06:42:42.595" v="8022"/>
          <ac:spMkLst>
            <pc:docMk/>
            <pc:sldMk cId="3792973182" sldId="412"/>
            <ac:spMk id="6" creationId="{A5F8FC34-D2B9-3D9C-DCC2-2A813F16A017}"/>
          </ac:spMkLst>
        </pc:spChg>
        <pc:spChg chg="add mod">
          <ac:chgData name="Takaaki Masaki" userId="56a88eee-ec65-40f9-8642-be59fd24ba9b" providerId="ADAL" clId="{B854D024-8FF7-452B-B2F9-8E2041F90BBF}" dt="2024-04-16T06:46:06.704" v="8052" actId="1076"/>
          <ac:spMkLst>
            <pc:docMk/>
            <pc:sldMk cId="3792973182" sldId="412"/>
            <ac:spMk id="11" creationId="{EDFF8260-B93F-D336-2B9C-A97A7B8F1E72}"/>
          </ac:spMkLst>
        </pc:spChg>
        <pc:spChg chg="add mod">
          <ac:chgData name="Takaaki Masaki" userId="56a88eee-ec65-40f9-8642-be59fd24ba9b" providerId="ADAL" clId="{B854D024-8FF7-452B-B2F9-8E2041F90BBF}" dt="2024-04-16T06:46:21.450" v="8057" actId="20577"/>
          <ac:spMkLst>
            <pc:docMk/>
            <pc:sldMk cId="3792973182" sldId="412"/>
            <ac:spMk id="12" creationId="{47EF2AE4-C1C6-61C3-EA82-F1BD50AB6176}"/>
          </ac:spMkLst>
        </pc:spChg>
        <pc:spChg chg="add mod">
          <ac:chgData name="Takaaki Masaki" userId="56a88eee-ec65-40f9-8642-be59fd24ba9b" providerId="ADAL" clId="{B854D024-8FF7-452B-B2F9-8E2041F90BBF}" dt="2024-04-16T06:46:37.024" v="8064" actId="1076"/>
          <ac:spMkLst>
            <pc:docMk/>
            <pc:sldMk cId="3792973182" sldId="412"/>
            <ac:spMk id="13" creationId="{83951FCC-0FB8-3D49-06E3-953C337ADEBE}"/>
          </ac:spMkLst>
        </pc:spChg>
        <pc:spChg chg="add mod">
          <ac:chgData name="Takaaki Masaki" userId="56a88eee-ec65-40f9-8642-be59fd24ba9b" providerId="ADAL" clId="{B854D024-8FF7-452B-B2F9-8E2041F90BBF}" dt="2024-04-16T06:46:47.713" v="8072" actId="1076"/>
          <ac:spMkLst>
            <pc:docMk/>
            <pc:sldMk cId="3792973182" sldId="412"/>
            <ac:spMk id="14" creationId="{3F6CC84C-CBEA-FB31-04C1-40D9A4CB47E8}"/>
          </ac:spMkLst>
        </pc:spChg>
        <pc:spChg chg="add mod">
          <ac:chgData name="Takaaki Masaki" userId="56a88eee-ec65-40f9-8642-be59fd24ba9b" providerId="ADAL" clId="{B854D024-8FF7-452B-B2F9-8E2041F90BBF}" dt="2024-04-16T06:50:45.111" v="8214" actId="1076"/>
          <ac:spMkLst>
            <pc:docMk/>
            <pc:sldMk cId="3792973182" sldId="412"/>
            <ac:spMk id="15" creationId="{6C4A7011-DCC3-612E-A926-78D7666FC0AD}"/>
          </ac:spMkLst>
        </pc:spChg>
        <pc:spChg chg="add mod">
          <ac:chgData name="Takaaki Masaki" userId="56a88eee-ec65-40f9-8642-be59fd24ba9b" providerId="ADAL" clId="{B854D024-8FF7-452B-B2F9-8E2041F90BBF}" dt="2024-04-16T06:50:01.141" v="8203" actId="20577"/>
          <ac:spMkLst>
            <pc:docMk/>
            <pc:sldMk cId="3792973182" sldId="412"/>
            <ac:spMk id="16" creationId="{D3D8C039-A715-394A-BA93-33BD8EEE58AD}"/>
          </ac:spMkLst>
        </pc:spChg>
        <pc:spChg chg="add mod">
          <ac:chgData name="Takaaki Masaki" userId="56a88eee-ec65-40f9-8642-be59fd24ba9b" providerId="ADAL" clId="{B854D024-8FF7-452B-B2F9-8E2041F90BBF}" dt="2024-04-16T06:48:40.952" v="8158" actId="20577"/>
          <ac:spMkLst>
            <pc:docMk/>
            <pc:sldMk cId="3792973182" sldId="412"/>
            <ac:spMk id="17" creationId="{4DC8789B-10CA-353F-76D6-9D09A0DA8E48}"/>
          </ac:spMkLst>
        </pc:spChg>
        <pc:spChg chg="add mod">
          <ac:chgData name="Takaaki Masaki" userId="56a88eee-ec65-40f9-8642-be59fd24ba9b" providerId="ADAL" clId="{B854D024-8FF7-452B-B2F9-8E2041F90BBF}" dt="2024-04-16T06:50:16.352" v="8208" actId="20577"/>
          <ac:spMkLst>
            <pc:docMk/>
            <pc:sldMk cId="3792973182" sldId="412"/>
            <ac:spMk id="18" creationId="{FB7E4A97-551E-B186-C193-CF81EC10E199}"/>
          </ac:spMkLst>
        </pc:spChg>
        <pc:picChg chg="add mod">
          <ac:chgData name="Takaaki Masaki" userId="56a88eee-ec65-40f9-8642-be59fd24ba9b" providerId="ADAL" clId="{B854D024-8FF7-452B-B2F9-8E2041F90BBF}" dt="2024-04-16T06:45:45.089" v="8041" actId="14100"/>
          <ac:picMkLst>
            <pc:docMk/>
            <pc:sldMk cId="3792973182" sldId="412"/>
            <ac:picMk id="9" creationId="{0401DBDE-8E4B-4F74-0110-38A2C2C227C7}"/>
          </ac:picMkLst>
        </pc:picChg>
        <pc:cxnChg chg="add mod">
          <ac:chgData name="Takaaki Masaki" userId="56a88eee-ec65-40f9-8642-be59fd24ba9b" providerId="ADAL" clId="{B854D024-8FF7-452B-B2F9-8E2041F90BBF}" dt="2024-04-16T06:44:52.146" v="8039"/>
          <ac:cxnSpMkLst>
            <pc:docMk/>
            <pc:sldMk cId="3792973182" sldId="412"/>
            <ac:cxnSpMk id="10" creationId="{A407B77C-DAC7-C741-A200-B1F040E8FFB4}"/>
          </ac:cxnSpMkLst>
        </pc:cxnChg>
      </pc:sldChg>
      <pc:sldChg chg="new del">
        <pc:chgData name="Takaaki Masaki" userId="56a88eee-ec65-40f9-8642-be59fd24ba9b" providerId="ADAL" clId="{B854D024-8FF7-452B-B2F9-8E2041F90BBF}" dt="2024-04-16T03:36:43.634" v="7545" actId="47"/>
        <pc:sldMkLst>
          <pc:docMk/>
          <pc:sldMk cId="3598747688" sldId="413"/>
        </pc:sldMkLst>
      </pc:sldChg>
      <pc:sldChg chg="modSp new mod">
        <pc:chgData name="Takaaki Masaki" userId="56a88eee-ec65-40f9-8642-be59fd24ba9b" providerId="ADAL" clId="{B854D024-8FF7-452B-B2F9-8E2041F90BBF}" dt="2024-04-16T06:38:21.064" v="7972" actId="20577"/>
        <pc:sldMkLst>
          <pc:docMk/>
          <pc:sldMk cId="3828297443" sldId="413"/>
        </pc:sldMkLst>
        <pc:spChg chg="mod">
          <ac:chgData name="Takaaki Masaki" userId="56a88eee-ec65-40f9-8642-be59fd24ba9b" providerId="ADAL" clId="{B854D024-8FF7-452B-B2F9-8E2041F90BBF}" dt="2024-04-16T06:38:09.230" v="7954" actId="20577"/>
          <ac:spMkLst>
            <pc:docMk/>
            <pc:sldMk cId="3828297443" sldId="413"/>
            <ac:spMk id="2" creationId="{9774F7B0-7FDC-BFB7-DFF5-B94C49DFE24C}"/>
          </ac:spMkLst>
        </pc:spChg>
        <pc:spChg chg="mod">
          <ac:chgData name="Takaaki Masaki" userId="56a88eee-ec65-40f9-8642-be59fd24ba9b" providerId="ADAL" clId="{B854D024-8FF7-452B-B2F9-8E2041F90BBF}" dt="2024-04-16T06:38:21.064" v="7972" actId="20577"/>
          <ac:spMkLst>
            <pc:docMk/>
            <pc:sldMk cId="3828297443" sldId="413"/>
            <ac:spMk id="3" creationId="{111B91D4-34F4-9CB4-24D9-8F3386DB9B54}"/>
          </ac:spMkLst>
        </pc:spChg>
      </pc:sldChg>
      <pc:sldChg chg="new del">
        <pc:chgData name="Takaaki Masaki" userId="56a88eee-ec65-40f9-8642-be59fd24ba9b" providerId="ADAL" clId="{B854D024-8FF7-452B-B2F9-8E2041F90BBF}" dt="2024-04-16T06:42:24.959" v="8016" actId="47"/>
        <pc:sldMkLst>
          <pc:docMk/>
          <pc:sldMk cId="3001835587" sldId="414"/>
        </pc:sldMkLst>
      </pc:sldChg>
      <pc:sldChg chg="add del">
        <pc:chgData name="Takaaki Masaki" userId="56a88eee-ec65-40f9-8642-be59fd24ba9b" providerId="ADAL" clId="{B854D024-8FF7-452B-B2F9-8E2041F90BBF}" dt="2024-04-16T06:42:20.411" v="8015"/>
        <pc:sldMkLst>
          <pc:docMk/>
          <pc:sldMk cId="2518103559" sldId="415"/>
        </pc:sldMkLst>
      </pc:sldChg>
      <pc:sldMasterChg chg="delSldLayout">
        <pc:chgData name="Takaaki Masaki" userId="56a88eee-ec65-40f9-8642-be59fd24ba9b" providerId="ADAL" clId="{B854D024-8FF7-452B-B2F9-8E2041F90BBF}" dt="2024-04-02T04:32:00.170" v="163" actId="2696"/>
        <pc:sldMasterMkLst>
          <pc:docMk/>
          <pc:sldMasterMk cId="0" sldId="2147485265"/>
        </pc:sldMasterMkLst>
        <pc:sldLayoutChg chg="del">
          <pc:chgData name="Takaaki Masaki" userId="56a88eee-ec65-40f9-8642-be59fd24ba9b" providerId="ADAL" clId="{B854D024-8FF7-452B-B2F9-8E2041F90BBF}" dt="2024-04-02T04:32:00.170" v="163" actId="2696"/>
          <pc:sldLayoutMkLst>
            <pc:docMk/>
            <pc:sldMasterMk cId="0" sldId="2147485265"/>
            <pc:sldLayoutMk cId="3620978242" sldId="2147485527"/>
          </pc:sldLayoutMkLst>
        </pc:sldLayoutChg>
      </pc:sldMasterChg>
    </pc:docChg>
  </pc:docChgLst>
  <pc:docChgLst>
    <pc:chgData name="Revocatus Washington Paul" userId="S::catuspaul_gmail.com#ext#@worldbankgroup.onmicrosoft.com::b13f5400-0b53-417f-9ea3-8ee32bb124d8" providerId="AD" clId="Web-{899707FB-59FB-EE9F-45F1-202D31171D53}"/>
    <pc:docChg chg="mod addSld delSld modSld modMainMaster setSldSz">
      <pc:chgData name="Revocatus Washington Paul" userId="S::catuspaul_gmail.com#ext#@worldbankgroup.onmicrosoft.com::b13f5400-0b53-417f-9ea3-8ee32bb124d8" providerId="AD" clId="Web-{899707FB-59FB-EE9F-45F1-202D31171D53}" dt="2022-03-09T07:10:35.787" v="45"/>
      <pc:docMkLst>
        <pc:docMk/>
      </pc:docMkLst>
      <pc:sldChg chg="modSp">
        <pc:chgData name="Revocatus Washington Paul" userId="S::catuspaul_gmail.com#ext#@worldbankgroup.onmicrosoft.com::b13f5400-0b53-417f-9ea3-8ee32bb124d8" providerId="AD" clId="Web-{899707FB-59FB-EE9F-45F1-202D31171D53}" dt="2022-03-09T07:08:01.012" v="43"/>
        <pc:sldMkLst>
          <pc:docMk/>
          <pc:sldMk cId="2539712035" sldId="256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539712035" sldId="256"/>
            <ac:spMk id="2" creationId="{500B4985-5844-4EB1-9DE5-6177B9061EB1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539712035" sldId="256"/>
            <ac:spMk id="4" creationId="{D23673E8-12C1-4920-980E-880DA27CB9D6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539712035" sldId="256"/>
            <ac:picMk id="6" creationId="{8148C4B5-924E-41B6-900F-2AC7725246C0}"/>
          </ac:picMkLst>
        </pc:pic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352592262" sldId="257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352592262" sldId="257"/>
            <ac:spMk id="2" creationId="{90D0FF2E-2620-4EB1-A986-02CA3AA912A8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352592262" sldId="257"/>
            <ac:spMk id="3" creationId="{B894210C-9002-4DA4-9DD8-4CF05F405920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352592262" sldId="257"/>
            <ac:spMk id="4" creationId="{B4DB4F7A-91EE-4B5D-A489-169E2BEF08BF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352592262" sldId="257"/>
            <ac:spMk id="5" creationId="{02315522-F74C-4F66-AB6E-F6A38E077DE7}"/>
          </ac:spMkLst>
        </pc:spChg>
      </pc:sldChg>
      <pc:sldChg chg="modSp">
        <pc:chgData name="Revocatus Washington Paul" userId="S::catuspaul_gmail.com#ext#@worldbankgroup.onmicrosoft.com::b13f5400-0b53-417f-9ea3-8ee32bb124d8" providerId="AD" clId="Web-{899707FB-59FB-EE9F-45F1-202D31171D53}" dt="2022-03-09T07:08:01.012" v="43"/>
        <pc:sldMkLst>
          <pc:docMk/>
          <pc:sldMk cId="363020870" sldId="258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63020870" sldId="258"/>
            <ac:spMk id="2" creationId="{E01226A3-FD12-4BA7-ABF5-9D408688073E}"/>
          </ac:spMkLst>
        </pc:sp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961101582" sldId="260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961101582" sldId="260"/>
            <ac:spMk id="2" creationId="{BFA593CE-D009-491F-9B8E-186C1CE5590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961101582" sldId="260"/>
            <ac:spMk id="4" creationId="{54E2D0D7-40E0-450B-8D80-617FDA7399A1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961101582" sldId="260"/>
            <ac:spMk id="5" creationId="{FED7D9D4-B274-4CB0-9099-9AB19962EB81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961101582" sldId="260"/>
            <ac:spMk id="7" creationId="{830ED3FE-7061-4E0F-BC7E-960A9CCC8035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961101582" sldId="260"/>
            <ac:spMk id="9" creationId="{F532BA4A-A990-489E-B307-A9F9E61EDCE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961101582" sldId="260"/>
            <ac:spMk id="11" creationId="{DC51FDCE-E443-4382-9E82-7EE25A398805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961101582" sldId="260"/>
            <ac:spMk id="13" creationId="{E487931E-8006-4906-9028-C01C28E93ABC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961101582" sldId="260"/>
            <ac:picMk id="6" creationId="{E244F4A8-6704-9243-9EA5-78D02CA81C60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961101582" sldId="260"/>
            <ac:picMk id="10" creationId="{D799CEE0-DD76-974F-A1ED-5A4BDF30E987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961101582" sldId="260"/>
            <ac:picMk id="14" creationId="{6288863C-56FC-42BE-8808-E015F6AD1103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961101582" sldId="260"/>
            <ac:picMk id="15" creationId="{3266C12F-7B37-BA43-8F50-A6CD031FA368}"/>
          </ac:picMkLst>
        </pc:picChg>
      </pc:sldChg>
      <pc:sldChg chg="modSp">
        <pc:chgData name="Revocatus Washington Paul" userId="S::catuspaul_gmail.com#ext#@worldbankgroup.onmicrosoft.com::b13f5400-0b53-417f-9ea3-8ee32bb124d8" providerId="AD" clId="Web-{899707FB-59FB-EE9F-45F1-202D31171D53}" dt="2022-03-09T07:08:01.012" v="43"/>
        <pc:sldMkLst>
          <pc:docMk/>
          <pc:sldMk cId="553589282" sldId="261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553589282" sldId="261"/>
            <ac:spMk id="2" creationId="{E01226A3-FD12-4BA7-ABF5-9D408688073E}"/>
          </ac:spMkLst>
        </pc:sp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2126581259" sldId="262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126581259" sldId="262"/>
            <ac:spMk id="2" creationId="{5F51176E-0EB4-404D-9296-04C17AE93B13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2126581259" sldId="262"/>
            <ac:spMk id="4" creationId="{FB81E4D4-6F47-1D41-92EA-7A7858DD01EB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126581259" sldId="262"/>
            <ac:spMk id="5" creationId="{22B5ADB1-6796-D148-92F8-3202FA600380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126581259" sldId="262"/>
            <ac:spMk id="8" creationId="{4D10D322-EF40-0744-B5B3-90A192ECFD43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126581259" sldId="262"/>
            <ac:spMk id="9" creationId="{7830D813-2546-3142-8C1C-A3F7206EA378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126581259" sldId="262"/>
            <ac:spMk id="10" creationId="{97E79E67-236F-A04A-A2FB-C4D4FA2D9CB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126581259" sldId="262"/>
            <ac:spMk id="11" creationId="{9967711C-4EA9-6145-8B8A-C65ADFC4A2C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126581259" sldId="262"/>
            <ac:spMk id="12" creationId="{0F590AD0-C866-9742-95BF-694F739C30A6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126581259" sldId="262"/>
            <ac:picMk id="7" creationId="{47192CDE-9FF2-F844-978E-F551BE776F82}"/>
          </ac:picMkLst>
        </pc:picChg>
      </pc:sldChg>
      <pc:sldChg chg="modSp">
        <pc:chgData name="Revocatus Washington Paul" userId="S::catuspaul_gmail.com#ext#@worldbankgroup.onmicrosoft.com::b13f5400-0b53-417f-9ea3-8ee32bb124d8" providerId="AD" clId="Web-{899707FB-59FB-EE9F-45F1-202D31171D53}" dt="2022-03-09T07:08:01.012" v="43"/>
        <pc:sldMkLst>
          <pc:docMk/>
          <pc:sldMk cId="194667375" sldId="263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94667375" sldId="263"/>
            <ac:spMk id="2" creationId="{E01226A3-FD12-4BA7-ABF5-9D408688073E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94667375" sldId="263"/>
            <ac:spMk id="3" creationId="{3EE0DA0E-4180-4226-A6C5-B8C9859EB37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94667375" sldId="263"/>
            <ac:spMk id="4" creationId="{1EE6E14C-DFEC-4A41-972C-3C099E1C11EF}"/>
          </ac:spMkLst>
        </pc:sp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25861721" sldId="264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5861721" sldId="264"/>
            <ac:spMk id="2" creationId="{5F51176E-0EB4-404D-9296-04C17AE93B13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25861721" sldId="264"/>
            <ac:spMk id="4" creationId="{FB81E4D4-6F47-1D41-92EA-7A7858DD01EB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5861721" sldId="264"/>
            <ac:spMk id="5" creationId="{22B5ADB1-6796-D148-92F8-3202FA600380}"/>
          </ac:spMkLst>
        </pc:spChg>
        <pc:graphicFrameChg chg="mod modGraphic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graphicFrameMkLst>
            <pc:docMk/>
            <pc:sldMk cId="25861721" sldId="264"/>
            <ac:graphicFrameMk id="13" creationId="{6A159AD4-A5E2-E346-99D6-F397D225C8E7}"/>
          </ac:graphicFrameMkLst>
        </pc:graphicFrame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5861721" sldId="264"/>
            <ac:picMk id="17" creationId="{3896BD93-0439-BE4E-8315-0EADC83453D8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5861721" sldId="264"/>
            <ac:picMk id="18" creationId="{431CA168-EC67-D04B-BB00-3ECB9327E24D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5861721" sldId="264"/>
            <ac:picMk id="24" creationId="{6798708C-EE63-8C45-8CA5-C8159AF1B7BA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5861721" sldId="264"/>
            <ac:picMk id="26" creationId="{35D99616-398C-094A-93B5-46B590A938C5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5861721" sldId="264"/>
            <ac:picMk id="27" creationId="{F86DC66A-023F-A84D-9F7F-C4C45E518462}"/>
          </ac:picMkLst>
        </pc:pic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4156061048" sldId="265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156061048" sldId="265"/>
            <ac:spMk id="2" creationId="{6C614DC0-D4A0-3F4E-B938-8EE44C13F712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4156061048" sldId="265"/>
            <ac:spMk id="4" creationId="{0D9D2DF9-2801-AF42-9FAF-2EA7A2C7FE47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156061048" sldId="265"/>
            <ac:spMk id="5" creationId="{6835BBEB-4E21-654B-9FB4-217D124FF879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156061048" sldId="265"/>
            <ac:spMk id="6" creationId="{E646D711-9F9D-134B-A368-2784845AFDAB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156061048" sldId="265"/>
            <ac:spMk id="7" creationId="{F8DCAB6B-7F21-914E-AEF1-12ABB1CA0813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156061048" sldId="265"/>
            <ac:spMk id="8" creationId="{D33190D0-C22E-0244-8462-91E91FAC6E23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156061048" sldId="265"/>
            <ac:spMk id="9" creationId="{8940C686-0F99-5347-8B23-1190803EE22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156061048" sldId="265"/>
            <ac:spMk id="25" creationId="{27F77F7A-0175-5940-BA48-23B58CEFE01B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156061048" sldId="265"/>
            <ac:spMk id="31" creationId="{46856D70-A0FB-D440-A34C-B608A10BE677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4156061048" sldId="265"/>
            <ac:picMk id="22" creationId="{F04F8952-6327-994E-9CB3-70EDDEAC1D12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4156061048" sldId="265"/>
            <ac:picMk id="23" creationId="{FC3AF28F-66E0-0242-85B7-BFD89CE39962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4156061048" sldId="265"/>
            <ac:cxnSpMk id="11" creationId="{A0F763A6-D16A-CA41-B41E-865A2CFACBA3}"/>
          </ac:cxnSpMkLst>
        </pc:cxnChg>
      </pc:sldChg>
      <pc:sldChg chg="modSp">
        <pc:chgData name="Revocatus Washington Paul" userId="S::catuspaul_gmail.com#ext#@worldbankgroup.onmicrosoft.com::b13f5400-0b53-417f-9ea3-8ee32bb124d8" providerId="AD" clId="Web-{899707FB-59FB-EE9F-45F1-202D31171D53}" dt="2022-03-09T07:08:01.012" v="43"/>
        <pc:sldMkLst>
          <pc:docMk/>
          <pc:sldMk cId="351976269" sldId="266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51976269" sldId="266"/>
            <ac:spMk id="2" creationId="{E01226A3-FD12-4BA7-ABF5-9D408688073E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51976269" sldId="266"/>
            <ac:spMk id="3" creationId="{3EE0DA0E-4180-4226-A6C5-B8C9859EB37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51976269" sldId="266"/>
            <ac:spMk id="4" creationId="{1EE6E14C-DFEC-4A41-972C-3C099E1C11EF}"/>
          </ac:spMkLst>
        </pc:spChg>
      </pc:sldChg>
      <pc:sldChg chg="modSp">
        <pc:chgData name="Revocatus Washington Paul" userId="S::catuspaul_gmail.com#ext#@worldbankgroup.onmicrosoft.com::b13f5400-0b53-417f-9ea3-8ee32bb124d8" providerId="AD" clId="Web-{899707FB-59FB-EE9F-45F1-202D31171D53}" dt="2022-03-09T07:08:01.012" v="43"/>
        <pc:sldMkLst>
          <pc:docMk/>
          <pc:sldMk cId="1901022434" sldId="267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901022434" sldId="267"/>
            <ac:spMk id="2" creationId="{E01226A3-FD12-4BA7-ABF5-9D408688073E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901022434" sldId="267"/>
            <ac:spMk id="3" creationId="{3EE0DA0E-4180-4226-A6C5-B8C9859EB37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901022434" sldId="267"/>
            <ac:spMk id="4" creationId="{1EE6E14C-DFEC-4A41-972C-3C099E1C11EF}"/>
          </ac:spMkLst>
        </pc:sp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4062278478" sldId="268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062278478" sldId="268"/>
            <ac:spMk id="2" creationId="{7A4247B2-5249-5248-B8AE-A7B09D6710DC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4062278478" sldId="268"/>
            <ac:spMk id="4" creationId="{F0357929-02C2-C74C-A189-9F0C6DCC3C3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062278478" sldId="268"/>
            <ac:spMk id="5" creationId="{E47E27AB-E1A4-F140-B6EB-11F679417487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062278478" sldId="268"/>
            <ac:spMk id="8" creationId="{150B18A2-40EA-4543-91EF-FB5D1EA694B8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062278478" sldId="268"/>
            <ac:spMk id="9" creationId="{EF46FD93-006D-1841-9BF2-A76B949BB2B1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062278478" sldId="268"/>
            <ac:spMk id="10" creationId="{A5D1A0BB-C2B2-B64F-8DA3-211FB43442A7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062278478" sldId="268"/>
            <ac:spMk id="11" creationId="{C2C320BC-0EED-FE4E-A091-F96420DA7C32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4062278478" sldId="268"/>
            <ac:picMk id="21" creationId="{7B1A0B26-22AE-0B48-9D0D-0A0AC1E263D8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4062278478" sldId="268"/>
            <ac:picMk id="23" creationId="{7C4737B2-BEFF-1F41-A242-BD62ABD8FEB2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4062278478" sldId="268"/>
            <ac:cxnSpMk id="14" creationId="{7ADCFF1D-EEC6-3640-ADA4-D510578A7A7D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881752054" sldId="270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881752054" sldId="270"/>
            <ac:spMk id="2" creationId="{18772FE0-9CC7-8E4F-A04D-DFD4A2C11F45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881752054" sldId="270"/>
            <ac:spMk id="4" creationId="{2A5F6972-5246-AF49-B228-DA9DB031686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881752054" sldId="270"/>
            <ac:spMk id="5" creationId="{B1D3025A-1E10-1241-A0FE-C9041C34CD8F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881752054" sldId="270"/>
            <ac:spMk id="10" creationId="{DDD61ABB-EBDC-FA49-AD27-5698C4A92B75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881752054" sldId="270"/>
            <ac:spMk id="11" creationId="{F5B39EE1-BB9B-424C-9291-6407D24D21B1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881752054" sldId="270"/>
            <ac:spMk id="12" creationId="{8C33D614-2387-A049-A2EF-207636334C91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881752054" sldId="270"/>
            <ac:spMk id="13" creationId="{DE3C94E6-FF50-CC42-97EF-1919166259FF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881752054" sldId="270"/>
            <ac:picMk id="19" creationId="{61104B47-EC1A-1A41-A28A-600054A7E1ED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881752054" sldId="270"/>
            <ac:picMk id="26" creationId="{8997088E-8B30-2F48-A216-01C3EC797688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3881752054" sldId="270"/>
            <ac:cxnSpMk id="14" creationId="{465315AF-7206-7D43-B4A3-C2A861239C5F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019570019" sldId="271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019570019" sldId="271"/>
            <ac:spMk id="2" creationId="{18772FE0-9CC7-8E4F-A04D-DFD4A2C11F45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019570019" sldId="271"/>
            <ac:spMk id="4" creationId="{2A5F6972-5246-AF49-B228-DA9DB031686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019570019" sldId="271"/>
            <ac:spMk id="5" creationId="{B1D3025A-1E10-1241-A0FE-C9041C34CD8F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019570019" sldId="271"/>
            <ac:spMk id="10" creationId="{DDD61ABB-EBDC-FA49-AD27-5698C4A92B75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019570019" sldId="271"/>
            <ac:spMk id="12" creationId="{8C33D614-2387-A049-A2EF-207636334C91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019570019" sldId="271"/>
            <ac:picMk id="6" creationId="{BAA46B95-FF1B-0E43-AB2F-69F957F90367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019570019" sldId="271"/>
            <ac:picMk id="8" creationId="{A30E242E-33E1-9449-BB83-2ECEB54725DD}"/>
          </ac:picMkLst>
        </pc:pic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217402464" sldId="272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17402464" sldId="272"/>
            <ac:spMk id="2" creationId="{18772FE0-9CC7-8E4F-A04D-DFD4A2C11F45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217402464" sldId="272"/>
            <ac:spMk id="4" creationId="{2A5F6972-5246-AF49-B228-DA9DB031686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17402464" sldId="272"/>
            <ac:spMk id="5" creationId="{B1D3025A-1E10-1241-A0FE-C9041C34CD8F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17402464" sldId="272"/>
            <ac:spMk id="10" creationId="{DDD61ABB-EBDC-FA49-AD27-5698C4A92B75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17402464" sldId="272"/>
            <ac:spMk id="32" creationId="{D9C141CA-9F8C-AE41-B7B8-58A80B492D23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17402464" sldId="272"/>
            <ac:spMk id="33" creationId="{9B9C703E-6C08-5C49-A9FE-08FADE52217B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17402464" sldId="272"/>
            <ac:picMk id="20" creationId="{5A7ACD5C-89B5-8F47-AA9E-4FA81EAC2C58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17402464" sldId="272"/>
            <ac:picMk id="22" creationId="{3FE30F58-F6F6-CC46-B134-BC0D5128D1C3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17402464" sldId="272"/>
            <ac:picMk id="26" creationId="{E50F0E56-9DA8-0644-BC86-B21A877B1242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217402464" sldId="272"/>
            <ac:cxnSpMk id="27" creationId="{3F56727B-45E8-4E49-B025-495D6EF252EC}"/>
          </ac:cxnSpMkLst>
        </pc:cxn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217402464" sldId="272"/>
            <ac:cxnSpMk id="30" creationId="{C4EF8F55-A8CE-9E43-B6B8-09906B5C3061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576614564" sldId="274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576614564" sldId="274"/>
            <ac:spMk id="2" creationId="{18772FE0-9CC7-8E4F-A04D-DFD4A2C11F45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576614564" sldId="274"/>
            <ac:spMk id="4" creationId="{2A5F6972-5246-AF49-B228-DA9DB031686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576614564" sldId="274"/>
            <ac:spMk id="5" creationId="{B1D3025A-1E10-1241-A0FE-C9041C34CD8F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576614564" sldId="274"/>
            <ac:spMk id="10" creationId="{DDD61ABB-EBDC-FA49-AD27-5698C4A92B75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576614564" sldId="274"/>
            <ac:spMk id="32" creationId="{D9C141CA-9F8C-AE41-B7B8-58A80B492D23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576614564" sldId="274"/>
            <ac:spMk id="33" creationId="{9B9C703E-6C08-5C49-A9FE-08FADE52217B}"/>
          </ac:spMkLst>
        </pc:spChg>
        <pc:gr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grpSpMkLst>
            <pc:docMk/>
            <pc:sldMk cId="576614564" sldId="274"/>
            <ac:grpSpMk id="21" creationId="{F9F6E007-DF69-C449-A500-68A239418B6F}"/>
          </ac:grpSpMkLst>
        </pc:gr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576614564" sldId="274"/>
            <ac:picMk id="6" creationId="{167D94D9-8FA5-5F48-9160-656C50473D70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576614564" sldId="274"/>
            <ac:picMk id="8" creationId="{54FBFC17-DD1C-EA4F-80BE-0F9D84A4B28C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576614564" sldId="274"/>
            <ac:picMk id="11" creationId="{5ED91778-86AB-0F4C-9E36-365C518082AF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576614564" sldId="274"/>
            <ac:picMk id="13" creationId="{F9B62AE4-8071-6B48-816D-A2BF10DD541F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576614564" sldId="274"/>
            <ac:picMk id="15" creationId="{59C32BD1-317D-D446-9793-F6F7CD95AECA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576614564" sldId="274"/>
            <ac:cxnSpMk id="27" creationId="{3F56727B-45E8-4E49-B025-495D6EF252EC}"/>
          </ac:cxnSpMkLst>
        </pc:cxn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576614564" sldId="274"/>
            <ac:cxnSpMk id="30" creationId="{C4EF8F55-A8CE-9E43-B6B8-09906B5C3061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559914308" sldId="275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559914308" sldId="275"/>
            <ac:spMk id="2" creationId="{18772FE0-9CC7-8E4F-A04D-DFD4A2C11F45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559914308" sldId="275"/>
            <ac:spMk id="4" creationId="{2A5F6972-5246-AF49-B228-DA9DB031686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559914308" sldId="275"/>
            <ac:spMk id="5" creationId="{B1D3025A-1E10-1241-A0FE-C9041C34CD8F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559914308" sldId="275"/>
            <ac:spMk id="10" creationId="{DDD61ABB-EBDC-FA49-AD27-5698C4A92B75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559914308" sldId="275"/>
            <ac:spMk id="32" creationId="{D9C141CA-9F8C-AE41-B7B8-58A80B492D23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559914308" sldId="275"/>
            <ac:picMk id="7" creationId="{A61B7E26-3D97-FB4C-9737-234BBACCBBF1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559914308" sldId="275"/>
            <ac:picMk id="12" creationId="{3528CCEB-BF16-3043-AEBA-797A4098DA18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559914308" sldId="275"/>
            <ac:picMk id="16" creationId="{50800E6A-B91F-2848-B4BC-C1D253D2736B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559914308" sldId="275"/>
            <ac:picMk id="20" creationId="{18E4A4B6-4770-8A4D-8F96-AC089E7A489A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559914308" sldId="275"/>
            <ac:cxnSpMk id="27" creationId="{3F56727B-45E8-4E49-B025-495D6EF252EC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2281439180" sldId="276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281439180" sldId="276"/>
            <ac:spMk id="2" creationId="{18772FE0-9CC7-8E4F-A04D-DFD4A2C11F45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2281439180" sldId="276"/>
            <ac:spMk id="4" creationId="{2A5F6972-5246-AF49-B228-DA9DB031686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281439180" sldId="276"/>
            <ac:spMk id="5" creationId="{B1D3025A-1E10-1241-A0FE-C9041C34CD8F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281439180" sldId="276"/>
            <ac:spMk id="10" creationId="{DDD61ABB-EBDC-FA49-AD27-5698C4A92B75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281439180" sldId="276"/>
            <ac:spMk id="32" creationId="{D9C141CA-9F8C-AE41-B7B8-58A80B492D23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281439180" sldId="276"/>
            <ac:picMk id="28" creationId="{0797894D-6BE1-6E4A-9620-8E87A4DDAF8B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281439180" sldId="276"/>
            <ac:picMk id="31" creationId="{07AE5D6E-E869-1D4D-9F06-E1115D91B68C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281439180" sldId="276"/>
            <ac:picMk id="35" creationId="{26CAAB11-A4EE-E443-8B4D-C04A2DC05261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281439180" sldId="276"/>
            <ac:picMk id="37" creationId="{EDE5CCB4-0904-CA49-8D79-727AB7BB89AF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2281439180" sldId="276"/>
            <ac:cxnSpMk id="27" creationId="{3F56727B-45E8-4E49-B025-495D6EF252EC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416035135" sldId="277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16035135" sldId="277"/>
            <ac:spMk id="2" creationId="{18772FE0-9CC7-8E4F-A04D-DFD4A2C11F45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416035135" sldId="277"/>
            <ac:spMk id="4" creationId="{2A5F6972-5246-AF49-B228-DA9DB031686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16035135" sldId="277"/>
            <ac:spMk id="5" creationId="{B1D3025A-1E10-1241-A0FE-C9041C34CD8F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16035135" sldId="277"/>
            <ac:spMk id="10" creationId="{DDD61ABB-EBDC-FA49-AD27-5698C4A92B75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16035135" sldId="277"/>
            <ac:spMk id="32" creationId="{D9C141CA-9F8C-AE41-B7B8-58A80B492D23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416035135" sldId="277"/>
            <ac:picMk id="6" creationId="{4283E9EE-54B8-A146-9B5F-6E4D6C962F0F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416035135" sldId="277"/>
            <ac:picMk id="8" creationId="{49EB1013-D5AE-AE45-82D2-AC2A913550ED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416035135" sldId="277"/>
            <ac:picMk id="11" creationId="{D4DA7BE1-7A89-9740-80EC-F898B35FA380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416035135" sldId="277"/>
            <ac:picMk id="13" creationId="{529A3BEE-D152-F54A-B791-B57DA95D8F3F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416035135" sldId="277"/>
            <ac:cxnSpMk id="27" creationId="{3F56727B-45E8-4E49-B025-495D6EF252EC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1825696332" sldId="278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825696332" sldId="278"/>
            <ac:spMk id="2" creationId="{18772FE0-9CC7-8E4F-A04D-DFD4A2C11F45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1825696332" sldId="278"/>
            <ac:spMk id="4" creationId="{2A5F6972-5246-AF49-B228-DA9DB031686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825696332" sldId="278"/>
            <ac:spMk id="5" creationId="{B1D3025A-1E10-1241-A0FE-C9041C34CD8F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825696332" sldId="278"/>
            <ac:spMk id="10" creationId="{DDD61ABB-EBDC-FA49-AD27-5698C4A92B75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825696332" sldId="278"/>
            <ac:spMk id="32" creationId="{D9C141CA-9F8C-AE41-B7B8-58A80B492D23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825696332" sldId="278"/>
            <ac:picMk id="7" creationId="{DC4E3700-140D-454D-9105-85EBF95BCD61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825696332" sldId="278"/>
            <ac:picMk id="12" creationId="{61FFB74F-D297-164A-9F18-E5CA3D31F3E2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825696332" sldId="278"/>
            <ac:picMk id="15" creationId="{609F17DB-A40D-134D-B316-ECBC122D0706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1825696332" sldId="278"/>
            <ac:cxnSpMk id="27" creationId="{3F56727B-45E8-4E49-B025-495D6EF252EC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1796130260" sldId="279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96130260" sldId="279"/>
            <ac:spMk id="2" creationId="{18772FE0-9CC7-8E4F-A04D-DFD4A2C11F45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1796130260" sldId="279"/>
            <ac:spMk id="4" creationId="{2A5F6972-5246-AF49-B228-DA9DB031686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96130260" sldId="279"/>
            <ac:spMk id="5" creationId="{B1D3025A-1E10-1241-A0FE-C9041C34CD8F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96130260" sldId="279"/>
            <ac:spMk id="10" creationId="{DDD61ABB-EBDC-FA49-AD27-5698C4A92B75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96130260" sldId="279"/>
            <ac:spMk id="32" creationId="{D9C141CA-9F8C-AE41-B7B8-58A80B492D23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796130260" sldId="279"/>
            <ac:picMk id="6" creationId="{12C720ED-E9D7-0B46-BB4A-78D084DFA002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796130260" sldId="279"/>
            <ac:picMk id="8" creationId="{A08A2E49-50F1-A14A-9CE4-11F4A8B1A784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796130260" sldId="279"/>
            <ac:picMk id="11" creationId="{C35C1CC0-864A-9B44-81C5-0E032CEA058A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1796130260" sldId="279"/>
            <ac:cxnSpMk id="27" creationId="{3F56727B-45E8-4E49-B025-495D6EF252EC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543936518" sldId="280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543936518" sldId="280"/>
            <ac:spMk id="2" creationId="{18772FE0-9CC7-8E4F-A04D-DFD4A2C11F45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543936518" sldId="280"/>
            <ac:spMk id="4" creationId="{2A5F6972-5246-AF49-B228-DA9DB031686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543936518" sldId="280"/>
            <ac:spMk id="5" creationId="{B1D3025A-1E10-1241-A0FE-C9041C34CD8F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543936518" sldId="280"/>
            <ac:spMk id="10" creationId="{DDD61ABB-EBDC-FA49-AD27-5698C4A92B75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543936518" sldId="280"/>
            <ac:spMk id="32" creationId="{D9C141CA-9F8C-AE41-B7B8-58A80B492D23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543936518" sldId="280"/>
            <ac:picMk id="7" creationId="{616154AA-7A6C-9F4D-BAA3-433A714AD473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543936518" sldId="280"/>
            <ac:picMk id="12" creationId="{E4DB8213-20DE-8847-8B8E-7AA532B1BB4D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543936518" sldId="280"/>
            <ac:picMk id="14" creationId="{36D26B5A-BE2D-C74A-8E70-DA1B863B88DF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543936518" sldId="280"/>
            <ac:picMk id="16" creationId="{59F1F02E-E34F-8F4E-AA9A-DAA5B86F632C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543936518" sldId="280"/>
            <ac:cxnSpMk id="27" creationId="{3F56727B-45E8-4E49-B025-495D6EF252EC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4067997508" sldId="281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067997508" sldId="281"/>
            <ac:spMk id="2" creationId="{18772FE0-9CC7-8E4F-A04D-DFD4A2C11F45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4067997508" sldId="281"/>
            <ac:spMk id="4" creationId="{2A5F6972-5246-AF49-B228-DA9DB031686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067997508" sldId="281"/>
            <ac:spMk id="5" creationId="{B1D3025A-1E10-1241-A0FE-C9041C34CD8F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067997508" sldId="281"/>
            <ac:spMk id="10" creationId="{DDD61ABB-EBDC-FA49-AD27-5698C4A92B75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067997508" sldId="281"/>
            <ac:spMk id="32" creationId="{D9C141CA-9F8C-AE41-B7B8-58A80B492D23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4067997508" sldId="281"/>
            <ac:picMk id="6" creationId="{94082C37-8E4C-CF40-8FF2-141D49C802ED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4067997508" sldId="281"/>
            <ac:picMk id="9" creationId="{5F7FEDAD-4424-5C4F-8894-929EDFE11D20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4067997508" sldId="281"/>
            <ac:picMk id="13" creationId="{26375A10-1943-7341-B4A1-A04468CF2EEF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4067997508" sldId="281"/>
            <ac:cxnSpMk id="27" creationId="{3F56727B-45E8-4E49-B025-495D6EF252EC}"/>
          </ac:cxnSpMkLst>
        </pc:cxnChg>
      </pc:sldChg>
      <pc:sldChg chg="modSp">
        <pc:chgData name="Revocatus Washington Paul" userId="S::catuspaul_gmail.com#ext#@worldbankgroup.onmicrosoft.com::b13f5400-0b53-417f-9ea3-8ee32bb124d8" providerId="AD" clId="Web-{899707FB-59FB-EE9F-45F1-202D31171D53}" dt="2022-03-09T07:08:01.012" v="43"/>
        <pc:sldMkLst>
          <pc:docMk/>
          <pc:sldMk cId="467404387" sldId="282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67404387" sldId="282"/>
            <ac:spMk id="2" creationId="{E01226A3-FD12-4BA7-ABF5-9D408688073E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67404387" sldId="282"/>
            <ac:spMk id="3" creationId="{3EE0DA0E-4180-4226-A6C5-B8C9859EB37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67404387" sldId="282"/>
            <ac:spMk id="4" creationId="{1EE6E14C-DFEC-4A41-972C-3C099E1C11EF}"/>
          </ac:spMkLst>
        </pc:sp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2749391245" sldId="283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749391245" sldId="283"/>
            <ac:spMk id="2" creationId="{18772FE0-9CC7-8E4F-A04D-DFD4A2C11F45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2749391245" sldId="283"/>
            <ac:spMk id="4" creationId="{2A5F6972-5246-AF49-B228-DA9DB031686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749391245" sldId="283"/>
            <ac:spMk id="5" creationId="{B1D3025A-1E10-1241-A0FE-C9041C34CD8F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749391245" sldId="283"/>
            <ac:spMk id="10" creationId="{DDD61ABB-EBDC-FA49-AD27-5698C4A92B75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749391245" sldId="283"/>
            <ac:spMk id="32" creationId="{D9C141CA-9F8C-AE41-B7B8-58A80B492D23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749391245" sldId="283"/>
            <ac:picMk id="6" creationId="{06E0490D-AE1D-C341-8D08-6E3F5741730C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749391245" sldId="283"/>
            <ac:picMk id="9" creationId="{1567BE1C-68D2-B444-8CC1-B7FF156EC4B5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749391245" sldId="283"/>
            <ac:picMk id="13" creationId="{39ABF7AF-7E32-814B-93DA-66E83AAB45E1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749391245" sldId="283"/>
            <ac:picMk id="17" creationId="{093DDB9E-38AF-1743-9774-4E57EEBA7734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2749391245" sldId="283"/>
            <ac:cxnSpMk id="27" creationId="{3F56727B-45E8-4E49-B025-495D6EF252EC}"/>
          </ac:cxnSpMkLst>
        </pc:cxnChg>
      </pc:sldChg>
      <pc:sldChg chg="modSp">
        <pc:chgData name="Revocatus Washington Paul" userId="S::catuspaul_gmail.com#ext#@worldbankgroup.onmicrosoft.com::b13f5400-0b53-417f-9ea3-8ee32bb124d8" providerId="AD" clId="Web-{899707FB-59FB-EE9F-45F1-202D31171D53}" dt="2022-03-09T07:08:01.012" v="43"/>
        <pc:sldMkLst>
          <pc:docMk/>
          <pc:sldMk cId="647443771" sldId="284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647443771" sldId="284"/>
            <ac:spMk id="2" creationId="{E01226A3-FD12-4BA7-ABF5-9D408688073E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647443771" sldId="284"/>
            <ac:spMk id="3" creationId="{3EE0DA0E-4180-4226-A6C5-B8C9859EB37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647443771" sldId="284"/>
            <ac:spMk id="4" creationId="{1EE6E14C-DFEC-4A41-972C-3C099E1C11EF}"/>
          </ac:spMkLst>
        </pc:sp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620493443" sldId="285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620493443" sldId="285"/>
            <ac:spMk id="2" creationId="{18772FE0-9CC7-8E4F-A04D-DFD4A2C11F45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620493443" sldId="285"/>
            <ac:spMk id="4" creationId="{2A5F6972-5246-AF49-B228-DA9DB031686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620493443" sldId="285"/>
            <ac:spMk id="5" creationId="{B1D3025A-1E10-1241-A0FE-C9041C34CD8F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620493443" sldId="285"/>
            <ac:spMk id="10" creationId="{DDD61ABB-EBDC-FA49-AD27-5698C4A92B75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620493443" sldId="285"/>
            <ac:spMk id="32" creationId="{D9C141CA-9F8C-AE41-B7B8-58A80B492D23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620493443" sldId="285"/>
            <ac:picMk id="6" creationId="{404FAFB2-C9BF-9441-81A3-55415B5F1C73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620493443" sldId="285"/>
            <ac:picMk id="7" creationId="{63B5EE57-916D-AF49-9F80-3C9D178639A2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620493443" sldId="285"/>
            <ac:picMk id="9" creationId="{F68A214B-F3FB-7B4C-8E80-4D68B0C40E8B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620493443" sldId="285"/>
            <ac:picMk id="11" creationId="{0C0D4603-9F2F-4E48-8BED-3E5A527D84A0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3620493443" sldId="285"/>
            <ac:cxnSpMk id="27" creationId="{3F56727B-45E8-4E49-B025-495D6EF252EC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1750090798" sldId="286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50090798" sldId="286"/>
            <ac:spMk id="2" creationId="{18772FE0-9CC7-8E4F-A04D-DFD4A2C11F45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1750090798" sldId="286"/>
            <ac:spMk id="4" creationId="{2A5F6972-5246-AF49-B228-DA9DB031686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50090798" sldId="286"/>
            <ac:spMk id="5" creationId="{B1D3025A-1E10-1241-A0FE-C9041C34CD8F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50090798" sldId="286"/>
            <ac:spMk id="10" creationId="{DDD61ABB-EBDC-FA49-AD27-5698C4A92B75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50090798" sldId="286"/>
            <ac:spMk id="32" creationId="{D9C141CA-9F8C-AE41-B7B8-58A80B492D23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750090798" sldId="286"/>
            <ac:picMk id="8" creationId="{AED3D7F2-1427-F44D-AEE1-ACCEB20F2AD3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750090798" sldId="286"/>
            <ac:picMk id="13" creationId="{937303B2-5AE1-B540-89D1-14CD3615A660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750090798" sldId="286"/>
            <ac:picMk id="17" creationId="{02A611F8-4292-BA4B-8B08-2927A325C174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750090798" sldId="286"/>
            <ac:picMk id="19" creationId="{DB3C990B-B8F2-004C-BFED-40B0B0AB122E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1750090798" sldId="286"/>
            <ac:cxnSpMk id="27" creationId="{3F56727B-45E8-4E49-B025-495D6EF252EC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338456390" sldId="287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338456390" sldId="287"/>
            <ac:spMk id="2" creationId="{18772FE0-9CC7-8E4F-A04D-DFD4A2C11F45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338456390" sldId="287"/>
            <ac:spMk id="4" creationId="{2A5F6972-5246-AF49-B228-DA9DB031686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338456390" sldId="287"/>
            <ac:spMk id="5" creationId="{B1D3025A-1E10-1241-A0FE-C9041C34CD8F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338456390" sldId="287"/>
            <ac:spMk id="10" creationId="{DDD61ABB-EBDC-FA49-AD27-5698C4A92B75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338456390" sldId="287"/>
            <ac:picMk id="6" creationId="{32A9E99F-C52D-2947-833A-651D1C84416C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338456390" sldId="287"/>
            <ac:picMk id="9" creationId="{D8DE2264-331A-014E-A9B5-36BF2F5A661A}"/>
          </ac:picMkLst>
        </pc:picChg>
      </pc:sldChg>
      <pc:sldChg chg="modSp">
        <pc:chgData name="Revocatus Washington Paul" userId="S::catuspaul_gmail.com#ext#@worldbankgroup.onmicrosoft.com::b13f5400-0b53-417f-9ea3-8ee32bb124d8" providerId="AD" clId="Web-{899707FB-59FB-EE9F-45F1-202D31171D53}" dt="2022-03-09T07:08:01.012" v="43"/>
        <pc:sldMkLst>
          <pc:docMk/>
          <pc:sldMk cId="622223919" sldId="288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622223919" sldId="288"/>
            <ac:spMk id="2" creationId="{500B4985-5844-4EB1-9DE5-6177B9061EB1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622223919" sldId="288"/>
            <ac:spMk id="3" creationId="{9BD1DEA5-3A2E-4FD9-9036-60D3104EA00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622223919" sldId="288"/>
            <ac:spMk id="4" creationId="{D23673E8-12C1-4920-980E-880DA27CB9D6}"/>
          </ac:spMkLst>
        </pc:sp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135186025" sldId="289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35186025" sldId="289"/>
            <ac:spMk id="2" creationId="{18C0CF12-81D5-0D4F-A24F-3BAC5546F0A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35186025" sldId="289"/>
            <ac:spMk id="3" creationId="{A2915D3D-5F82-804E-84E4-2931F4DD9DE1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135186025" sldId="289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35186025" sldId="289"/>
            <ac:spMk id="5" creationId="{555604FE-141D-6645-AB98-E5D4D3C90856}"/>
          </ac:spMkLst>
        </pc:spChg>
      </pc:sldChg>
      <pc:sldChg chg="modSp">
        <pc:chgData name="Revocatus Washington Paul" userId="S::catuspaul_gmail.com#ext#@worldbankgroup.onmicrosoft.com::b13f5400-0b53-417f-9ea3-8ee32bb124d8" providerId="AD" clId="Web-{899707FB-59FB-EE9F-45F1-202D31171D53}" dt="2022-03-09T07:08:01.012" v="43"/>
        <pc:sldMkLst>
          <pc:docMk/>
          <pc:sldMk cId="554892308" sldId="290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554892308" sldId="290"/>
            <ac:spMk id="2" creationId="{E01226A3-FD12-4BA7-ABF5-9D408688073E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554892308" sldId="290"/>
            <ac:spMk id="3" creationId="{3EE0DA0E-4180-4226-A6C5-B8C9859EB37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554892308" sldId="290"/>
            <ac:spMk id="4" creationId="{1EE6E14C-DFEC-4A41-972C-3C099E1C11EF}"/>
          </ac:spMkLst>
        </pc:sp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274050655" sldId="291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274050655" sldId="291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274050655" sldId="291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274050655" sldId="291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274050655" sldId="291"/>
            <ac:spMk id="8" creationId="{4B1785D1-25D9-8245-9DA8-B3BA978307CE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274050655" sldId="291"/>
            <ac:picMk id="7" creationId="{12C57E33-EEC0-134A-B946-648A5E294B3C}"/>
          </ac:picMkLst>
        </pc:pic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240112873" sldId="292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240112873" sldId="292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240112873" sldId="292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240112873" sldId="292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240112873" sldId="292"/>
            <ac:spMk id="8" creationId="{4B1785D1-25D9-8245-9DA8-B3BA978307CE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240112873" sldId="292"/>
            <ac:spMk id="18" creationId="{D879A2B5-BC95-2241-8DB6-026988020C38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240112873" sldId="292"/>
            <ac:spMk id="20" creationId="{4CE8987E-CB50-E040-9A29-96A5CDDC05A5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240112873" sldId="292"/>
            <ac:picMk id="6" creationId="{3FEE6BFA-BA56-2247-A852-8F6CDA666AE2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3240112873" sldId="292"/>
            <ac:cxnSpMk id="15" creationId="{3DE7E802-A695-A14B-A652-CF1F650CE83F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1719800161" sldId="293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19800161" sldId="293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1719800161" sldId="293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19800161" sldId="293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19800161" sldId="293"/>
            <ac:spMk id="11" creationId="{45A5DD93-A1AF-5746-972E-49A4319FA09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19800161" sldId="293"/>
            <ac:spMk id="12" creationId="{5451D439-10BE-E943-865B-904BB9B0F698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19800161" sldId="293"/>
            <ac:spMk id="13" creationId="{5DA73574-BA7B-F048-BB3C-79C26945A8BF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19800161" sldId="293"/>
            <ac:spMk id="14" creationId="{3D186C8D-CD10-3040-94FB-61A3FEB9D4D8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19800161" sldId="293"/>
            <ac:spMk id="16" creationId="{C07AE6E9-06D3-FB43-A5BA-69474ABEA7D5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19800161" sldId="293"/>
            <ac:spMk id="17" creationId="{164963EE-BED6-0F47-BE8C-CF7269D56B40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19800161" sldId="293"/>
            <ac:spMk id="23" creationId="{A120109A-1F0C-E547-A644-2A36EDBCAD14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719800161" sldId="293"/>
            <ac:picMk id="9" creationId="{43768524-9239-FF48-9611-C42710CC8FD7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719800161" sldId="293"/>
            <ac:picMk id="19" creationId="{054B1CEE-4795-7341-89AE-A53424929FAC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719800161" sldId="293"/>
            <ac:picMk id="22" creationId="{549DB525-90E9-C743-BF3F-84A6449C277D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719800161" sldId="293"/>
            <ac:picMk id="25" creationId="{ABEA64FF-1E14-DD46-B894-4F6B56F9BBC2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719800161" sldId="293"/>
            <ac:picMk id="27" creationId="{F309D655-1F27-F840-B8FE-9BE6D9161EA4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719800161" sldId="293"/>
            <ac:picMk id="29" creationId="{88BF7E4B-A168-1C41-A6C4-F09759E8E0E1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1719800161" sldId="293"/>
            <ac:cxnSpMk id="30" creationId="{1BD2AD53-D1C3-B046-BC21-59AD5A048F72}"/>
          </ac:cxnSpMkLst>
        </pc:cxn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1719800161" sldId="293"/>
            <ac:cxnSpMk id="31" creationId="{C3827F51-8158-8D42-8137-D83B270BBFB8}"/>
          </ac:cxnSpMkLst>
        </pc:cxn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1719800161" sldId="293"/>
            <ac:cxnSpMk id="32" creationId="{F9557B12-6DB7-CB40-82F4-26D300B0FD92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010995884" sldId="294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010995884" sldId="294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010995884" sldId="294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010995884" sldId="294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010995884" sldId="294"/>
            <ac:spMk id="28" creationId="{6D4F0C8F-C955-1944-A577-D6DF9F25E179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010995884" sldId="294"/>
            <ac:picMk id="10" creationId="{46B4D6BB-084C-274D-8535-DBA6BE0DB789}"/>
          </ac:picMkLst>
        </pc:pic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793778490" sldId="295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793778490" sldId="295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793778490" sldId="295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793778490" sldId="295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793778490" sldId="295"/>
            <ac:spMk id="7" creationId="{726EACEF-83EB-C249-AEE0-7E735D27208C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793778490" sldId="295"/>
            <ac:spMk id="9" creationId="{11AE8FD6-28B8-E047-BDD4-CA697AEDA5F6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793778490" sldId="295"/>
            <ac:picMk id="6" creationId="{DB6DBBCE-22AE-E542-8844-AB48F83384E4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793778490" sldId="295"/>
            <ac:picMk id="12" creationId="{A2D4085A-7F8A-984B-AE50-567037012888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793778490" sldId="295"/>
            <ac:cxnSpMk id="8" creationId="{A58C18FD-2B03-F642-8729-838FF160FC40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178002913" sldId="296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178002913" sldId="296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178002913" sldId="296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178002913" sldId="296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178002913" sldId="296"/>
            <ac:spMk id="11" creationId="{EF263226-25B0-EA4D-82E2-964609E62687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178002913" sldId="296"/>
            <ac:picMk id="8" creationId="{A238EC32-21BF-A746-BC30-55E23D067C3C}"/>
          </ac:picMkLst>
        </pc:picChg>
      </pc:sldChg>
      <pc:sldChg chg="modSp">
        <pc:chgData name="Revocatus Washington Paul" userId="S::catuspaul_gmail.com#ext#@worldbankgroup.onmicrosoft.com::b13f5400-0b53-417f-9ea3-8ee32bb124d8" providerId="AD" clId="Web-{899707FB-59FB-EE9F-45F1-202D31171D53}" dt="2022-03-09T07:08:01.012" v="43"/>
        <pc:sldMkLst>
          <pc:docMk/>
          <pc:sldMk cId="3044218326" sldId="297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044218326" sldId="297"/>
            <ac:spMk id="2" creationId="{E01226A3-FD12-4BA7-ABF5-9D408688073E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044218326" sldId="297"/>
            <ac:spMk id="4" creationId="{1EE6E14C-DFEC-4A41-972C-3C099E1C11EF}"/>
          </ac:spMkLst>
        </pc:sp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283517966" sldId="298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283517966" sldId="298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283517966" sldId="298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283517966" sldId="298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283517966" sldId="298"/>
            <ac:spMk id="11" creationId="{EF263226-25B0-EA4D-82E2-964609E62687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283517966" sldId="298"/>
            <ac:picMk id="8" creationId="{A238EC32-21BF-A746-BC30-55E23D067C3C}"/>
          </ac:picMkLst>
        </pc:pic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339642416" sldId="299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339642416" sldId="299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339642416" sldId="299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339642416" sldId="299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339642416" sldId="299"/>
            <ac:spMk id="11" creationId="{EF263226-25B0-EA4D-82E2-964609E62687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339642416" sldId="299"/>
            <ac:picMk id="9" creationId="{6DC7D8C0-81D2-2741-AD47-8F9FA8C336E5}"/>
          </ac:picMkLst>
        </pc:pic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2017790741" sldId="300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017790741" sldId="300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2017790741" sldId="300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017790741" sldId="300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017790741" sldId="300"/>
            <ac:spMk id="7" creationId="{726EACEF-83EB-C249-AEE0-7E735D27208C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017790741" sldId="300"/>
            <ac:spMk id="9" creationId="{11AE8FD6-28B8-E047-BDD4-CA697AEDA5F6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017790741" sldId="300"/>
            <ac:picMk id="10" creationId="{34B30F73-EEEF-3D47-BC8D-477E46EEB5C7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017790741" sldId="300"/>
            <ac:picMk id="13" creationId="{AA38F203-0968-C343-95F0-A1B2E60EBB10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017790741" sldId="300"/>
            <ac:picMk id="15" creationId="{592017E5-5CD5-FE49-9EEB-3EF6FE972D08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2017790741" sldId="300"/>
            <ac:cxnSpMk id="8" creationId="{A58C18FD-2B03-F642-8729-838FF160FC40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1200639827" sldId="301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200639827" sldId="301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1200639827" sldId="301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200639827" sldId="301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200639827" sldId="301"/>
            <ac:spMk id="11" creationId="{EF263226-25B0-EA4D-82E2-964609E62687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200639827" sldId="301"/>
            <ac:picMk id="9" creationId="{6DC7D8C0-81D2-2741-AD47-8F9FA8C336E5}"/>
          </ac:picMkLst>
        </pc:pic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861466284" sldId="302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861466284" sldId="302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861466284" sldId="302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861466284" sldId="302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861466284" sldId="302"/>
            <ac:spMk id="11" creationId="{EF263226-25B0-EA4D-82E2-964609E62687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861466284" sldId="302"/>
            <ac:picMk id="9" creationId="{6DC7D8C0-81D2-2741-AD47-8F9FA8C336E5}"/>
          </ac:picMkLst>
        </pc:pic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926047802" sldId="303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926047802" sldId="303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926047802" sldId="303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926047802" sldId="303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926047802" sldId="303"/>
            <ac:spMk id="7" creationId="{726EACEF-83EB-C249-AEE0-7E735D27208C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926047802" sldId="303"/>
            <ac:spMk id="9" creationId="{11AE8FD6-28B8-E047-BDD4-CA697AEDA5F6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926047802" sldId="303"/>
            <ac:picMk id="6" creationId="{FCAB92E5-F791-4C4D-8E31-0420692ADB98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926047802" sldId="303"/>
            <ac:picMk id="12" creationId="{DB61BE00-278E-7042-BBDC-F9CF152A8E59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3926047802" sldId="303"/>
            <ac:cxnSpMk id="8" creationId="{A58C18FD-2B03-F642-8729-838FF160FC40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933917220" sldId="304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933917220" sldId="304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933917220" sldId="304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933917220" sldId="304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933917220" sldId="304"/>
            <ac:spMk id="7" creationId="{726EACEF-83EB-C249-AEE0-7E735D27208C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933917220" sldId="304"/>
            <ac:spMk id="9" creationId="{11AE8FD6-28B8-E047-BDD4-CA697AEDA5F6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933917220" sldId="304"/>
            <ac:picMk id="10" creationId="{3E9F318E-0C8D-F148-9E6D-E6D95E7ACFB1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933917220" sldId="304"/>
            <ac:picMk id="13" creationId="{F11819D3-72DF-6249-93A3-D8A2A8CD0202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933917220" sldId="304"/>
            <ac:cxnSpMk id="8" creationId="{A58C18FD-2B03-F642-8729-838FF160FC40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395236631" sldId="305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395236631" sldId="305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395236631" sldId="305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395236631" sldId="305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395236631" sldId="305"/>
            <ac:spMk id="7" creationId="{726EACEF-83EB-C249-AEE0-7E735D27208C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395236631" sldId="305"/>
            <ac:spMk id="9" creationId="{11AE8FD6-28B8-E047-BDD4-CA697AEDA5F6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395236631" sldId="305"/>
            <ac:picMk id="6" creationId="{AC711BFB-F336-7445-BD03-42C426F0332F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395236631" sldId="305"/>
            <ac:picMk id="12" creationId="{462BA874-DE3D-BB40-9580-A7F7F16D6F0A}"/>
          </ac:picMkLst>
        </pc:pic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530554265" sldId="306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530554265" sldId="306"/>
            <ac:spMk id="2" creationId="{0E35C533-CB0A-1A46-9517-CDACEABE50DD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530554265" sldId="306"/>
            <ac:spMk id="4" creationId="{E30F4E22-C3CA-6D43-A136-29B793FD3495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530554265" sldId="306"/>
            <ac:spMk id="5" creationId="{848CC61A-931C-ED46-AE2D-8670254B7CAF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530554265" sldId="306"/>
            <ac:spMk id="8" creationId="{6F60B2D8-B5AB-FA4A-A396-D3121EA05CDC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530554265" sldId="306"/>
            <ac:spMk id="14" creationId="{85BA5CD1-12B3-DA40-A04A-9D8252C13EC1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530554265" sldId="306"/>
            <ac:spMk id="16" creationId="{4FC20876-FC8B-F44E-A5C5-B66ACE434FA1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530554265" sldId="306"/>
            <ac:spMk id="21" creationId="{07581260-140B-584F-8F7F-E31279A8D8CB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530554265" sldId="306"/>
            <ac:spMk id="23" creationId="{281309B0-C541-8346-9D12-9D8C6A3F0759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530554265" sldId="306"/>
            <ac:spMk id="25" creationId="{80C7AD8E-2A80-5349-B6DE-46E1412C5E71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530554265" sldId="306"/>
            <ac:spMk id="31" creationId="{1CE6DB91-3081-2C43-9737-018A45A059E1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530554265" sldId="306"/>
            <ac:spMk id="37" creationId="{8CB93116-33CF-9B44-A7F1-C71D4EBB3DF9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530554265" sldId="306"/>
            <ac:picMk id="7" creationId="{0F1EA6E0-2A69-3E4A-A3EF-76A596B3DFB3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3530554265" sldId="306"/>
            <ac:cxnSpMk id="10" creationId="{33FC326C-B3A9-304C-811C-2846F4915D36}"/>
          </ac:cxnSpMkLst>
        </pc:cxn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3530554265" sldId="306"/>
            <ac:cxnSpMk id="15" creationId="{004A1924-8775-0E4A-BC99-6E157FE85F0F}"/>
          </ac:cxnSpMkLst>
        </pc:cxn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3530554265" sldId="306"/>
            <ac:cxnSpMk id="20" creationId="{05996DDC-100D-E14D-9558-FD4E623B8DB7}"/>
          </ac:cxnSpMkLst>
        </pc:cxn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3530554265" sldId="306"/>
            <ac:cxnSpMk id="22" creationId="{731A4371-28D9-4147-8600-7DD0CB71D3EF}"/>
          </ac:cxnSpMkLst>
        </pc:cxn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3530554265" sldId="306"/>
            <ac:cxnSpMk id="24" creationId="{61529667-B5EA-9B45-BF82-74F15E914A6D}"/>
          </ac:cxnSpMkLst>
        </pc:cxn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3530554265" sldId="306"/>
            <ac:cxnSpMk id="30" creationId="{E0F4125A-B2B4-4344-B6C1-7F9C13DBC0AA}"/>
          </ac:cxnSpMkLst>
        </pc:cxn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3530554265" sldId="306"/>
            <ac:cxnSpMk id="36" creationId="{B3CA2397-65BC-7140-A778-617F91198C24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2763826054" sldId="307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763826054" sldId="307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2763826054" sldId="307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763826054" sldId="307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763826054" sldId="307"/>
            <ac:spMk id="11" creationId="{EF263226-25B0-EA4D-82E2-964609E62687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763826054" sldId="307"/>
            <ac:picMk id="9" creationId="{6DC7D8C0-81D2-2741-AD47-8F9FA8C336E5}"/>
          </ac:picMkLst>
        </pc:pic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233704736" sldId="308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233704736" sldId="308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233704736" sldId="308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233704736" sldId="308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233704736" sldId="308"/>
            <ac:spMk id="7" creationId="{726EACEF-83EB-C249-AEE0-7E735D27208C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233704736" sldId="308"/>
            <ac:spMk id="9" creationId="{11AE8FD6-28B8-E047-BDD4-CA697AEDA5F6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233704736" sldId="308"/>
            <ac:picMk id="13" creationId="{97475D53-FC47-604D-91FF-825733D4582A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233704736" sldId="308"/>
            <ac:picMk id="15" creationId="{862C17C1-C65A-E041-A4B5-EB34C697793F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233704736" sldId="308"/>
            <ac:picMk id="17" creationId="{17F46D2E-F8D6-6341-A619-1230D851A4BE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3233704736" sldId="308"/>
            <ac:cxnSpMk id="8" creationId="{A58C18FD-2B03-F642-8729-838FF160FC40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2023954067" sldId="309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023954067" sldId="309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2023954067" sldId="309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023954067" sldId="309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023954067" sldId="309"/>
            <ac:spMk id="7" creationId="{726EACEF-83EB-C249-AEE0-7E735D27208C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023954067" sldId="309"/>
            <ac:spMk id="9" creationId="{11AE8FD6-28B8-E047-BDD4-CA697AEDA5F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023954067" sldId="309"/>
            <ac:spMk id="10" creationId="{C8182ED3-6F7C-E745-8DE3-556B6469DAB5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023954067" sldId="309"/>
            <ac:spMk id="11" creationId="{E50EADCA-CE8B-D24B-A647-60C021402BD5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023954067" sldId="309"/>
            <ac:picMk id="14" creationId="{D1F5D850-FCC4-8D4C-91A0-9DFA814FEB34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023954067" sldId="309"/>
            <ac:picMk id="16" creationId="{7274D8B4-B818-4B44-B2D7-6139C6F73BA2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023954067" sldId="309"/>
            <ac:picMk id="18" creationId="{5DC01CDA-C748-284C-8B5F-0D819D4E8FB6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2023954067" sldId="309"/>
            <ac:cxnSpMk id="8" creationId="{A58C18FD-2B03-F642-8729-838FF160FC40}"/>
          </ac:cxnSpMkLst>
        </pc:cxn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2023954067" sldId="309"/>
            <ac:cxnSpMk id="13" creationId="{A017306C-F8F0-B04F-A118-EB7ADEBE332F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140862157" sldId="311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140862157" sldId="311"/>
            <ac:spMk id="2" creationId="{4EF2E5EE-3E6D-E043-82F8-0E98C0C5F99C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140862157" sldId="311"/>
            <ac:spMk id="3" creationId="{AB4B53C1-FD5C-784E-9B1E-73961C0063D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140862157" sldId="311"/>
            <ac:spMk id="4" creationId="{D37AB2B9-F697-2C47-9A45-DE521ADE5D1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140862157" sldId="311"/>
            <ac:spMk id="5" creationId="{BE2E825D-47BC-0A4A-9693-11FE6747DC3E}"/>
          </ac:spMkLst>
        </pc:sp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86681203" sldId="312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86681203" sldId="312"/>
            <ac:spMk id="2" creationId="{4EF2E5EE-3E6D-E043-82F8-0E98C0C5F99C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86681203" sldId="312"/>
            <ac:spMk id="3" creationId="{AB4B53C1-FD5C-784E-9B1E-73961C0063D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86681203" sldId="312"/>
            <ac:spMk id="4" creationId="{D37AB2B9-F697-2C47-9A45-DE521ADE5D1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86681203" sldId="312"/>
            <ac:spMk id="5" creationId="{BE2E825D-47BC-0A4A-9693-11FE6747DC3E}"/>
          </ac:spMkLst>
        </pc:sp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2440085736" sldId="313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440085736" sldId="313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2440085736" sldId="313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440085736" sldId="313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440085736" sldId="313"/>
            <ac:spMk id="7" creationId="{726EACEF-83EB-C249-AEE0-7E735D27208C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440085736" sldId="313"/>
            <ac:spMk id="9" creationId="{11AE8FD6-28B8-E047-BDD4-CA697AEDA5F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440085736" sldId="313"/>
            <ac:spMk id="12" creationId="{708DEEE8-48CD-DD4D-87E1-E1B6E2381ACA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440085736" sldId="313"/>
            <ac:spMk id="13" creationId="{B69B7CA0-10C4-8B4F-8598-EDAF43DB7386}"/>
          </ac:spMkLst>
        </pc:sp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2440085736" sldId="313"/>
            <ac:cxnSpMk id="8" creationId="{A58C18FD-2B03-F642-8729-838FF160FC40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2561012292" sldId="314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561012292" sldId="314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2561012292" sldId="314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561012292" sldId="314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561012292" sldId="314"/>
            <ac:spMk id="10" creationId="{84AA9DB6-51F3-E84E-879E-D59C8DF5ACE8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561012292" sldId="314"/>
            <ac:picMk id="11" creationId="{DAEA8939-905E-F840-A91D-9AB4C2A2158E}"/>
          </ac:picMkLst>
        </pc:picChg>
      </pc:sldChg>
      <pc:sldChg chg="modSp">
        <pc:chgData name="Revocatus Washington Paul" userId="S::catuspaul_gmail.com#ext#@worldbankgroup.onmicrosoft.com::b13f5400-0b53-417f-9ea3-8ee32bb124d8" providerId="AD" clId="Web-{899707FB-59FB-EE9F-45F1-202D31171D53}" dt="2022-03-09T07:08:01.012" v="43"/>
        <pc:sldMkLst>
          <pc:docMk/>
          <pc:sldMk cId="2819303272" sldId="315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819303272" sldId="315"/>
            <ac:spMk id="2" creationId="{500B4985-5844-4EB1-9DE5-6177B9061EB1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819303272" sldId="315"/>
            <ac:spMk id="3" creationId="{9BD1DEA5-3A2E-4FD9-9036-60D3104EA00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819303272" sldId="315"/>
            <ac:spMk id="4" creationId="{D23673E8-12C1-4920-980E-880DA27CB9D6}"/>
          </ac:spMkLst>
        </pc:sp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1780522131" sldId="316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80522131" sldId="316"/>
            <ac:spMk id="2" creationId="{90D0FF2E-2620-4EB1-A986-02CA3AA912A8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80522131" sldId="316"/>
            <ac:spMk id="3" creationId="{B894210C-9002-4DA4-9DD8-4CF05F405920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1780522131" sldId="316"/>
            <ac:spMk id="4" creationId="{B4DB4F7A-91EE-4B5D-A489-169E2BEF08BF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80522131" sldId="316"/>
            <ac:spMk id="5" creationId="{02315522-F74C-4F66-AB6E-F6A38E077DE7}"/>
          </ac:spMkLst>
        </pc:sp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1714892408" sldId="317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14892408" sldId="317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1714892408" sldId="317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14892408" sldId="317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14892408" sldId="317"/>
            <ac:spMk id="9" creationId="{79F9DC4F-41D5-0F4D-881B-2B30DE10BD2A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14892408" sldId="317"/>
            <ac:spMk id="10" creationId="{84AA9DB6-51F3-E84E-879E-D59C8DF5ACE8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714892408" sldId="317"/>
            <ac:picMk id="6" creationId="{8DC8AD0A-2EE5-D241-9F54-6C8C83EDA250}"/>
          </ac:picMkLst>
        </pc:pic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710596042" sldId="318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710596042" sldId="318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710596042" sldId="318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710596042" sldId="318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710596042" sldId="318"/>
            <ac:spMk id="9" creationId="{79F9DC4F-41D5-0F4D-881B-2B30DE10BD2A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710596042" sldId="318"/>
            <ac:picMk id="3" creationId="{59F03D15-36B5-534B-87E1-6AAA47A10A49}"/>
          </ac:picMkLst>
        </pc:pic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774777105" sldId="319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774777105" sldId="319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774777105" sldId="319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774777105" sldId="319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774777105" sldId="319"/>
            <ac:spMk id="9" creationId="{79F9DC4F-41D5-0F4D-881B-2B30DE10BD2A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774777105" sldId="319"/>
            <ac:picMk id="6" creationId="{81E17AF5-A4C7-FF45-BFD1-0901AA2F9107}"/>
          </ac:picMkLst>
        </pc:pic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1800250114" sldId="320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800250114" sldId="320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1800250114" sldId="320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800250114" sldId="320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800250114" sldId="320"/>
            <ac:spMk id="9" creationId="{79F9DC4F-41D5-0F4D-881B-2B30DE10BD2A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800250114" sldId="320"/>
            <ac:picMk id="3" creationId="{5619E4FD-92AE-484C-8CC0-FDF9E2B04DC4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800250114" sldId="320"/>
            <ac:picMk id="7" creationId="{5EBE91E1-ACE1-9D4B-AD07-332EF096355D}"/>
          </ac:picMkLst>
        </pc:pic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081064406" sldId="321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081064406" sldId="321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081064406" sldId="321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081064406" sldId="321"/>
            <ac:spMk id="5" creationId="{555604FE-141D-6645-AB98-E5D4D3C90856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081064406" sldId="321"/>
            <ac:picMk id="6" creationId="{1BAF81B3-6E65-6C49-8869-B9CCD8B92234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081064406" sldId="321"/>
            <ac:picMk id="8" creationId="{4CB7B670-80B9-6E40-AD73-7CF307833152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081064406" sldId="321"/>
            <ac:picMk id="10" creationId="{962404BD-FCB4-8E4A-823B-8AEBF3E3310F}"/>
          </ac:picMkLst>
        </pc:pic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417170624" sldId="322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17170624" sldId="322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417170624" sldId="322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17170624" sldId="322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17170624" sldId="322"/>
            <ac:spMk id="9" creationId="{79F9DC4F-41D5-0F4D-881B-2B30DE10BD2A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417170624" sldId="322"/>
            <ac:picMk id="6" creationId="{747D641F-D74B-264D-AFAB-0F868C52A051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417170624" sldId="322"/>
            <ac:picMk id="8" creationId="{773FFC7F-0625-0F40-A4DD-18B7D5023FA9}"/>
          </ac:picMkLst>
        </pc:pic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924304825" sldId="323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924304825" sldId="323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924304825" sldId="323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924304825" sldId="323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924304825" sldId="323"/>
            <ac:spMk id="9" creationId="{79F9DC4F-41D5-0F4D-881B-2B30DE10BD2A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924304825" sldId="323"/>
            <ac:spMk id="10" creationId="{FCDEDE1A-832B-0942-A980-9CB37265D50B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924304825" sldId="323"/>
            <ac:spMk id="16" creationId="{AD75D561-C780-F345-9EC8-3DC4B7BAE4CB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924304825" sldId="323"/>
            <ac:picMk id="3" creationId="{2936F0DF-51E7-FD48-A0CC-9FA707D1EE3B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924304825" sldId="323"/>
            <ac:picMk id="7" creationId="{E0AA6E0D-1C16-5C4C-BFDF-54DBDF4BF8C1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924304825" sldId="323"/>
            <ac:picMk id="12" creationId="{45EB2325-CF26-B440-B0DB-106BB2EE2C49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924304825" sldId="323"/>
            <ac:picMk id="13" creationId="{310108E3-980E-5148-8787-F0F2B03939FA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924304825" sldId="323"/>
            <ac:picMk id="15" creationId="{06A44D3E-78D4-A44B-B0D7-664806CBF84C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924304825" sldId="323"/>
            <ac:picMk id="17" creationId="{99185F84-F355-C94F-8173-715E1DD60949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924304825" sldId="323"/>
            <ac:picMk id="18" creationId="{B25A230A-0A3E-2643-8B88-FF865359A560}"/>
          </ac:picMkLst>
        </pc:pic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712796959" sldId="324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712796959" sldId="324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712796959" sldId="324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712796959" sldId="324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712796959" sldId="324"/>
            <ac:spMk id="8" creationId="{C5189421-8C24-6A40-AF87-0D8E32AE9A7C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712796959" sldId="324"/>
            <ac:spMk id="9" creationId="{79F9DC4F-41D5-0F4D-881B-2B30DE10BD2A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712796959" sldId="324"/>
            <ac:picMk id="6" creationId="{89E0D140-0498-4646-A6CA-CF7ED178201A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712796959" sldId="324"/>
            <ac:picMk id="15" creationId="{921FC29F-9527-6043-979D-0B1987DFEDDF}"/>
          </ac:picMkLst>
        </pc:picChg>
      </pc:sldChg>
      <pc:sldChg chg="modSp">
        <pc:chgData name="Revocatus Washington Paul" userId="S::catuspaul_gmail.com#ext#@worldbankgroup.onmicrosoft.com::b13f5400-0b53-417f-9ea3-8ee32bb124d8" providerId="AD" clId="Web-{899707FB-59FB-EE9F-45F1-202D31171D53}" dt="2022-03-09T07:08:01.012" v="43"/>
        <pc:sldMkLst>
          <pc:docMk/>
          <pc:sldMk cId="2962039528" sldId="325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962039528" sldId="325"/>
            <ac:spMk id="2" creationId="{E01226A3-FD12-4BA7-ABF5-9D408688073E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962039528" sldId="325"/>
            <ac:spMk id="3" creationId="{3EE0DA0E-4180-4226-A6C5-B8C9859EB37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962039528" sldId="325"/>
            <ac:spMk id="4" creationId="{1EE6E14C-DFEC-4A41-972C-3C099E1C11EF}"/>
          </ac:spMkLst>
        </pc:spChg>
      </pc:sldChg>
      <pc:sldChg chg="modSp">
        <pc:chgData name="Revocatus Washington Paul" userId="S::catuspaul_gmail.com#ext#@worldbankgroup.onmicrosoft.com::b13f5400-0b53-417f-9ea3-8ee32bb124d8" providerId="AD" clId="Web-{899707FB-59FB-EE9F-45F1-202D31171D53}" dt="2022-03-09T07:08:01.012" v="43"/>
        <pc:sldMkLst>
          <pc:docMk/>
          <pc:sldMk cId="2382116385" sldId="326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382116385" sldId="326"/>
            <ac:spMk id="2" creationId="{E01226A3-FD12-4BA7-ABF5-9D408688073E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382116385" sldId="326"/>
            <ac:spMk id="3" creationId="{3EE0DA0E-4180-4226-A6C5-B8C9859EB37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382116385" sldId="326"/>
            <ac:spMk id="4" creationId="{1EE6E14C-DFEC-4A41-972C-3C099E1C11EF}"/>
          </ac:spMkLst>
        </pc:spChg>
      </pc:sldChg>
      <pc:sldChg chg="modSp">
        <pc:chgData name="Revocatus Washington Paul" userId="S::catuspaul_gmail.com#ext#@worldbankgroup.onmicrosoft.com::b13f5400-0b53-417f-9ea3-8ee32bb124d8" providerId="AD" clId="Web-{899707FB-59FB-EE9F-45F1-202D31171D53}" dt="2022-03-09T07:08:01.012" v="43"/>
        <pc:sldMkLst>
          <pc:docMk/>
          <pc:sldMk cId="4172093184" sldId="327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172093184" sldId="327"/>
            <ac:spMk id="2" creationId="{E01226A3-FD12-4BA7-ABF5-9D408688073E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172093184" sldId="327"/>
            <ac:spMk id="3" creationId="{3EE0DA0E-4180-4226-A6C5-B8C9859EB37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172093184" sldId="327"/>
            <ac:spMk id="4" creationId="{1EE6E14C-DFEC-4A41-972C-3C099E1C11EF}"/>
          </ac:spMkLst>
        </pc:sp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1401364146" sldId="328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401364146" sldId="328"/>
            <ac:spMk id="2" creationId="{7A4247B2-5249-5248-B8AE-A7B09D6710DC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1401364146" sldId="328"/>
            <ac:spMk id="4" creationId="{F0357929-02C2-C74C-A189-9F0C6DCC3C3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401364146" sldId="328"/>
            <ac:spMk id="5" creationId="{E47E27AB-E1A4-F140-B6EB-11F679417487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401364146" sldId="328"/>
            <ac:spMk id="7" creationId="{3E91D370-DDD2-2B47-ADCD-EAD8D6F29C45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401364146" sldId="328"/>
            <ac:spMk id="15" creationId="{BF3120CE-B4A6-3746-9B1D-C853DA56516F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401364146" sldId="328"/>
            <ac:spMk id="17" creationId="{F3194BD2-5D87-F04B-996C-9F0DE2015920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401364146" sldId="328"/>
            <ac:spMk id="18" creationId="{4D33DC17-F738-214B-A7FC-F91514987580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401364146" sldId="328"/>
            <ac:spMk id="19" creationId="{14952187-59E6-E945-9BEC-8BFBBAF3E769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401364146" sldId="328"/>
            <ac:spMk id="22" creationId="{5027EA46-7AE4-C14F-BA6D-CBC317D44A95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401364146" sldId="328"/>
            <ac:spMk id="24" creationId="{32B08C12-9484-634F-A48E-853C3A298800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401364146" sldId="328"/>
            <ac:spMk id="25" creationId="{D716FBEA-F445-B243-BABA-7C4FE5C5778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401364146" sldId="328"/>
            <ac:spMk id="28" creationId="{E817E83C-4F34-3A49-9DC2-570C3E944898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401364146" sldId="328"/>
            <ac:spMk id="31" creationId="{6AE1BDE3-15E8-3042-939B-D4C58A364897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401364146" sldId="328"/>
            <ac:spMk id="35" creationId="{81BF859F-9C13-EE44-8FB4-B138E74DFAB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401364146" sldId="328"/>
            <ac:spMk id="36" creationId="{316AC704-D677-BB4A-9E71-A7B4800A5A5E}"/>
          </ac:spMkLst>
        </pc:spChg>
        <pc:gr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grpSpMkLst>
            <pc:docMk/>
            <pc:sldMk cId="1401364146" sldId="328"/>
            <ac:grpSpMk id="32" creationId="{41F7C7E5-6010-2743-9598-1E0F3F718F88}"/>
          </ac:grpSpMkLst>
        </pc:grp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384531833" sldId="329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384531833" sldId="329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384531833" sldId="329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384531833" sldId="329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384531833" sldId="329"/>
            <ac:spMk id="11" creationId="{E57CB43B-5437-704E-8063-20453649BCCF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384531833" sldId="329"/>
            <ac:spMk id="12" creationId="{AFDCD7CD-AA8B-E940-B4CA-9EDDC1C87FF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384531833" sldId="329"/>
            <ac:spMk id="17" creationId="{6AF49FB6-DC58-404B-9ADB-CC1C50F617EF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384531833" sldId="329"/>
            <ac:picMk id="3" creationId="{26C76BB2-4053-3E43-84A7-B9B2FE1D3D4C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384531833" sldId="329"/>
            <ac:picMk id="7" creationId="{0D213952-0DC7-5044-AA06-20666619394E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384531833" sldId="329"/>
            <ac:picMk id="10" creationId="{276E71EE-7D10-154A-91B2-641F64090152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3384531833" sldId="329"/>
            <ac:cxnSpMk id="14" creationId="{26BCC9D3-61C6-2A4D-943B-2592FBAD706F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586762857" sldId="330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586762857" sldId="330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586762857" sldId="330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586762857" sldId="330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586762857" sldId="330"/>
            <ac:spMk id="11" creationId="{E57CB43B-5437-704E-8063-20453649BCCF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586762857" sldId="330"/>
            <ac:spMk id="17" creationId="{6AF49FB6-DC58-404B-9ADB-CC1C50F617EF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586762857" sldId="330"/>
            <ac:picMk id="6" creationId="{1E062A9C-47C1-CD4E-8B8B-04897632BC99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586762857" sldId="330"/>
            <ac:picMk id="8" creationId="{DEF9431B-A9F7-0646-9CBD-F5B61E08F56C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586762857" sldId="330"/>
            <ac:cxnSpMk id="15" creationId="{B9C61FF1-2CC1-A944-B286-A7C392629E6B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175117747" sldId="331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175117747" sldId="331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175117747" sldId="331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175117747" sldId="331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175117747" sldId="331"/>
            <ac:spMk id="12" creationId="{6C4D14E5-AC69-324F-BEAB-5729B4821F2E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175117747" sldId="331"/>
            <ac:spMk id="13" creationId="{31A098C0-85D4-AA46-93D8-E024E5A7E0AD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175117747" sldId="331"/>
            <ac:picMk id="3" creationId="{D5122F1A-09D4-4E40-96BC-858BF078E4A7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175117747" sldId="331"/>
            <ac:picMk id="7" creationId="{E35A6B5D-D3B7-3946-BDA0-6F566869D954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175117747" sldId="331"/>
            <ac:picMk id="9" creationId="{D6C16C2F-7A00-564B-9D7D-A34539CBA9FF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3175117747" sldId="331"/>
            <ac:cxnSpMk id="15" creationId="{B9C61FF1-2CC1-A944-B286-A7C392629E6B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1340371423" sldId="332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340371423" sldId="332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1340371423" sldId="332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340371423" sldId="332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340371423" sldId="332"/>
            <ac:spMk id="12" creationId="{6C4D14E5-AC69-324F-BEAB-5729B4821F2E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340371423" sldId="332"/>
            <ac:spMk id="13" creationId="{31A098C0-85D4-AA46-93D8-E024E5A7E0AD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340371423" sldId="332"/>
            <ac:picMk id="6" creationId="{2C56F2ED-F9D9-6242-BD09-738E3D8E4280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340371423" sldId="332"/>
            <ac:picMk id="8" creationId="{892F2077-7536-9A4E-A549-3775903F2935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1340371423" sldId="332"/>
            <ac:cxnSpMk id="15" creationId="{B9C61FF1-2CC1-A944-B286-A7C392629E6B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205362079" sldId="333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05362079" sldId="333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205362079" sldId="333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05362079" sldId="333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05362079" sldId="333"/>
            <ac:spMk id="12" creationId="{6C4D14E5-AC69-324F-BEAB-5729B4821F2E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05362079" sldId="333"/>
            <ac:spMk id="13" creationId="{31A098C0-85D4-AA46-93D8-E024E5A7E0AD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05362079" sldId="333"/>
            <ac:picMk id="3" creationId="{49C9BBA2-056C-A046-A020-7B8C023039EB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05362079" sldId="333"/>
            <ac:picMk id="7" creationId="{9942146A-E537-914E-9D4A-AD763B78DF0C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05362079" sldId="333"/>
            <ac:picMk id="9" creationId="{B7E5A767-2B11-0541-91EB-4960F06B08F2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205362079" sldId="333"/>
            <ac:cxnSpMk id="15" creationId="{B9C61FF1-2CC1-A944-B286-A7C392629E6B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801842481" sldId="334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801842481" sldId="334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801842481" sldId="334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801842481" sldId="334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801842481" sldId="334"/>
            <ac:spMk id="12" creationId="{6C4D14E5-AC69-324F-BEAB-5729B4821F2E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801842481" sldId="334"/>
            <ac:spMk id="13" creationId="{31A098C0-85D4-AA46-93D8-E024E5A7E0A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801842481" sldId="334"/>
            <ac:spMk id="19" creationId="{BB3B329B-3D41-FE48-BE33-00801BDC032D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801842481" sldId="334"/>
            <ac:picMk id="6" creationId="{FE5DDD97-0001-BA42-9734-81C496A145D0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801842481" sldId="334"/>
            <ac:picMk id="8" creationId="{C8B2417A-99A8-8D44-AB0C-926FF5E4F40A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801842481" sldId="334"/>
            <ac:picMk id="10" creationId="{0AEF4F20-3743-6844-8FF0-66C1EBEBDAAF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3801842481" sldId="334"/>
            <ac:cxnSpMk id="15" creationId="{B9C61FF1-2CC1-A944-B286-A7C392629E6B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1157339580" sldId="336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157339580" sldId="336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1157339580" sldId="336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157339580" sldId="336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157339580" sldId="336"/>
            <ac:spMk id="12" creationId="{6C4D14E5-AC69-324F-BEAB-5729B4821F2E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157339580" sldId="336"/>
            <ac:spMk id="13" creationId="{31A098C0-85D4-AA46-93D8-E024E5A7E0A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157339580" sldId="336"/>
            <ac:spMk id="16" creationId="{3135DF9F-9B95-D845-AFDC-FBE7DE7038D9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157339580" sldId="336"/>
            <ac:picMk id="6" creationId="{C95D8C77-DC79-7542-91E3-DDE827A32829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157339580" sldId="336"/>
            <ac:picMk id="8" creationId="{CC13D3DF-0C74-4A49-849A-58F73E8293CD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157339580" sldId="336"/>
            <ac:picMk id="10" creationId="{40BF923B-18EB-1B4E-A17A-69B4CCE11C8C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1157339580" sldId="336"/>
            <ac:cxnSpMk id="17" creationId="{904E901A-4EA4-4544-B580-246A9E1167D0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2592558059" sldId="337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592558059" sldId="337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2592558059" sldId="337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592558059" sldId="337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592558059" sldId="337"/>
            <ac:spMk id="12" creationId="{6C4D14E5-AC69-324F-BEAB-5729B4821F2E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592558059" sldId="337"/>
            <ac:spMk id="13" creationId="{31A098C0-85D4-AA46-93D8-E024E5A7E0A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592558059" sldId="337"/>
            <ac:spMk id="16" creationId="{3135DF9F-9B95-D845-AFDC-FBE7DE7038D9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592558059" sldId="337"/>
            <ac:picMk id="3" creationId="{41CA1FCE-8631-2243-9A6C-F8195313CBC7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592558059" sldId="337"/>
            <ac:picMk id="7" creationId="{5DB98CEC-B902-F542-AB38-E895A456F6E7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592558059" sldId="337"/>
            <ac:picMk id="9" creationId="{1CBA57AB-0A77-6644-B866-437A2D50853E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2592558059" sldId="337"/>
            <ac:cxnSpMk id="17" creationId="{904E901A-4EA4-4544-B580-246A9E1167D0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4007988906" sldId="338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007988906" sldId="338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4007988906" sldId="338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007988906" sldId="338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007988906" sldId="338"/>
            <ac:spMk id="12" creationId="{6C4D14E5-AC69-324F-BEAB-5729B4821F2E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007988906" sldId="338"/>
            <ac:spMk id="13" creationId="{31A098C0-85D4-AA46-93D8-E024E5A7E0A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007988906" sldId="338"/>
            <ac:spMk id="16" creationId="{3135DF9F-9B95-D845-AFDC-FBE7DE7038D9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4007988906" sldId="338"/>
            <ac:picMk id="6" creationId="{3994B19C-2E33-7149-B29C-34EB477EDBAB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4007988906" sldId="338"/>
            <ac:picMk id="8" creationId="{216674CF-B575-864E-BCF1-136E5085E67A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4007988906" sldId="338"/>
            <ac:picMk id="10" creationId="{914156B0-223F-B641-8D58-741A6FE7C150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4007988906" sldId="338"/>
            <ac:cxnSpMk id="17" creationId="{904E901A-4EA4-4544-B580-246A9E1167D0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1211257722" sldId="339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211257722" sldId="339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1211257722" sldId="339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211257722" sldId="339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211257722" sldId="339"/>
            <ac:spMk id="12" creationId="{6C4D14E5-AC69-324F-BEAB-5729B4821F2E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211257722" sldId="339"/>
            <ac:spMk id="13" creationId="{31A098C0-85D4-AA46-93D8-E024E5A7E0AD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211257722" sldId="339"/>
            <ac:picMk id="3" creationId="{2C4032E4-7429-2D44-9797-593DD11F8065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211257722" sldId="339"/>
            <ac:picMk id="7" creationId="{852659C8-7B9F-9B49-A819-7FD842318647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1211257722" sldId="339"/>
            <ac:cxnSpMk id="15" creationId="{B9C61FF1-2CC1-A944-B286-A7C392629E6B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2869113427" sldId="340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869113427" sldId="340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2869113427" sldId="340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869113427" sldId="340"/>
            <ac:spMk id="5" creationId="{555604FE-141D-6645-AB98-E5D4D3C90856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869113427" sldId="340"/>
            <ac:picMk id="3" creationId="{A51E28B3-3C6E-994E-9BC2-0B107E2377EF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869113427" sldId="340"/>
            <ac:picMk id="6" creationId="{AD4131FF-BC02-0149-8D48-217931AD6013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869113427" sldId="340"/>
            <ac:picMk id="12" creationId="{177D2BCB-EE23-904E-B58C-6B1C40E53AF0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869113427" sldId="340"/>
            <ac:picMk id="15" creationId="{E8668082-2D11-4241-8144-91EE44B2711C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2869113427" sldId="340"/>
            <ac:cxnSpMk id="8" creationId="{A58C18FD-2B03-F642-8729-838FF160FC40}"/>
          </ac:cxnSpMkLst>
        </pc:cxn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2869113427" sldId="340"/>
            <ac:cxnSpMk id="13" creationId="{A017306C-F8F0-B04F-A118-EB7ADEBE332F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4032969113" sldId="341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032969113" sldId="341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4032969113" sldId="341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032969113" sldId="341"/>
            <ac:spMk id="5" creationId="{555604FE-141D-6645-AB98-E5D4D3C90856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4032969113" sldId="341"/>
            <ac:picMk id="7" creationId="{CE90258F-2D6A-AD43-9C5F-4939A339DE08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4032969113" sldId="341"/>
            <ac:picMk id="9" creationId="{F6FE218F-A365-7342-8DE9-CBF656FE55EC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4032969113" sldId="341"/>
            <ac:picMk id="10" creationId="{C48C3F53-D6E2-114D-AA9D-0B7574C5B8B5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4032969113" sldId="341"/>
            <ac:picMk id="11" creationId="{95F0DA39-97AF-8A4B-B64A-97E00348F3B8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4032969113" sldId="341"/>
            <ac:cxnSpMk id="8" creationId="{A58C18FD-2B03-F642-8729-838FF160FC40}"/>
          </ac:cxnSpMkLst>
        </pc:cxn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4032969113" sldId="341"/>
            <ac:cxnSpMk id="13" creationId="{A017306C-F8F0-B04F-A118-EB7ADEBE332F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2976533686" sldId="342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976533686" sldId="342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2976533686" sldId="342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976533686" sldId="342"/>
            <ac:spMk id="5" creationId="{555604FE-141D-6645-AB98-E5D4D3C90856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976533686" sldId="342"/>
            <ac:picMk id="7" creationId="{AE4B9C6E-C04E-484B-8597-11FF3C553B96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976533686" sldId="342"/>
            <ac:picMk id="9" creationId="{19DCB535-49E8-EB47-8A8C-6F6E96BB9A91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976533686" sldId="342"/>
            <ac:picMk id="10" creationId="{C02BEB45-EA89-0E41-8E81-9F58B4317D2D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976533686" sldId="342"/>
            <ac:picMk id="11" creationId="{05B6E224-55C8-BC4E-8739-6E82E7513B37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2976533686" sldId="342"/>
            <ac:cxnSpMk id="8" creationId="{A58C18FD-2B03-F642-8729-838FF160FC40}"/>
          </ac:cxnSpMkLst>
        </pc:cxn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2976533686" sldId="342"/>
            <ac:cxnSpMk id="13" creationId="{A017306C-F8F0-B04F-A118-EB7ADEBE332F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354946574" sldId="343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354946574" sldId="343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354946574" sldId="343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354946574" sldId="343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354946574" sldId="343"/>
            <ac:spMk id="14" creationId="{4F18B7E7-0131-484B-A38B-E48F06BEB1CB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354946574" sldId="343"/>
            <ac:picMk id="7" creationId="{7BD85EDA-3504-AD49-8D78-7604D5BAADAA}"/>
          </ac:picMkLst>
        </pc:pic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2553378438" sldId="344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553378438" sldId="344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2553378438" sldId="344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553378438" sldId="344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553378438" sldId="344"/>
            <ac:spMk id="15" creationId="{826DB648-3838-EF44-8FC6-597E9F4F6140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553378438" sldId="344"/>
            <ac:picMk id="6" creationId="{489AC98D-D9ED-9B48-AAE8-920A3CA7C040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553378438" sldId="344"/>
            <ac:picMk id="11" creationId="{8914FA1E-C237-4947-A095-0CFE9B46834A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553378438" sldId="344"/>
            <ac:picMk id="12" creationId="{7CDBD31C-DD27-414A-AA48-0C4B0B9428D5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2553378438" sldId="344"/>
            <ac:cxnSpMk id="8" creationId="{EAF6CAED-965B-2946-90ED-0C4C78D1AF17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2358782502" sldId="345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358782502" sldId="345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2358782502" sldId="345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358782502" sldId="345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358782502" sldId="345"/>
            <ac:spMk id="13" creationId="{0B0103E5-0A96-7C44-A589-FB060215E84A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358782502" sldId="345"/>
            <ac:spMk id="15" creationId="{826DB648-3838-EF44-8FC6-597E9F4F6140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358782502" sldId="345"/>
            <ac:picMk id="3" creationId="{7BF31179-A838-5649-9ECE-E743A00A8665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358782502" sldId="345"/>
            <ac:picMk id="7" creationId="{53258D6C-D1F4-E440-9FE5-2BA5C0E4E160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2358782502" sldId="345"/>
            <ac:cxnSpMk id="8" creationId="{EAF6CAED-965B-2946-90ED-0C4C78D1AF17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1411732116" sldId="346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411732116" sldId="346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1411732116" sldId="346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411732116" sldId="346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411732116" sldId="346"/>
            <ac:spMk id="13" creationId="{0B0103E5-0A96-7C44-A589-FB060215E84A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411732116" sldId="346"/>
            <ac:spMk id="15" creationId="{826DB648-3838-EF44-8FC6-597E9F4F6140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411732116" sldId="346"/>
            <ac:picMk id="6" creationId="{161F233A-9D91-5A43-B224-6D8C4C63769F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411732116" sldId="346"/>
            <ac:picMk id="9" creationId="{871B1632-2B1C-BC4A-8A8D-780B3DB933E9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1411732116" sldId="346"/>
            <ac:cxnSpMk id="8" creationId="{EAF6CAED-965B-2946-90ED-0C4C78D1AF17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2894643259" sldId="348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894643259" sldId="348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2894643259" sldId="348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894643259" sldId="348"/>
            <ac:spMk id="5" creationId="{555604FE-141D-6645-AB98-E5D4D3C90856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894643259" sldId="348"/>
            <ac:picMk id="3" creationId="{BB0B0B61-56DC-CA42-B549-FD5ADB80C689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894643259" sldId="348"/>
            <ac:picMk id="6" creationId="{C872FDEB-E92A-594F-B60C-48214247227D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894643259" sldId="348"/>
            <ac:picMk id="12" creationId="{5D0FD201-EFB7-814F-99E9-21CBA0BA052E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894643259" sldId="348"/>
            <ac:picMk id="14" creationId="{35D3B78E-D921-4746-8666-F07E734E0953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2894643259" sldId="348"/>
            <ac:cxnSpMk id="8" creationId="{A58C18FD-2B03-F642-8729-838FF160FC40}"/>
          </ac:cxnSpMkLst>
        </pc:cxn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2894643259" sldId="348"/>
            <ac:cxnSpMk id="13" creationId="{A017306C-F8F0-B04F-A118-EB7ADEBE332F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674571283" sldId="349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674571283" sldId="349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674571283" sldId="349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674571283" sldId="349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674571283" sldId="349"/>
            <ac:spMk id="16" creationId="{25BBD28C-37B6-014C-A5AA-391760B20BE0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674571283" sldId="349"/>
            <ac:picMk id="7" creationId="{94D79045-2E0D-DF4E-88DF-C0C3FE1EBD7D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674571283" sldId="349"/>
            <ac:picMk id="10" creationId="{3194837F-B7CD-984E-A1DD-BD9AA0110E6C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674571283" sldId="349"/>
            <ac:picMk id="11" creationId="{B99F71FC-559F-4047-AFF2-B6CDBE9E569B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674571283" sldId="349"/>
            <ac:cxnSpMk id="8" creationId="{EAF6CAED-965B-2946-90ED-0C4C78D1AF17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1982333163" sldId="350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982333163" sldId="350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1982333163" sldId="350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982333163" sldId="350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982333163" sldId="350"/>
            <ac:spMk id="15" creationId="{CB3520D7-F296-4F49-B175-6DB1D2E2E349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982333163" sldId="350"/>
            <ac:picMk id="7" creationId="{471B0276-88C1-9F42-9328-99C18D3CE2DB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982333163" sldId="350"/>
            <ac:picMk id="9" creationId="{C3B9E6DC-88BE-664C-A4F2-4723C038C869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982333163" sldId="350"/>
            <ac:picMk id="10" creationId="{1878CC8E-5043-D746-A1E5-9EB476B569FC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1982333163" sldId="350"/>
            <ac:cxnSpMk id="8" creationId="{A58C18FD-2B03-F642-8729-838FF160FC40}"/>
          </ac:cxnSpMkLst>
        </pc:cxn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1982333163" sldId="350"/>
            <ac:cxnSpMk id="13" creationId="{A017306C-F8F0-B04F-A118-EB7ADEBE332F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716336217" sldId="351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716336217" sldId="351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716336217" sldId="351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716336217" sldId="351"/>
            <ac:spMk id="5" creationId="{555604FE-141D-6645-AB98-E5D4D3C90856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716336217" sldId="351"/>
            <ac:picMk id="3" creationId="{09479DC5-C1B0-754F-AD21-A6107DFD3D1F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716336217" sldId="351"/>
            <ac:picMk id="7" creationId="{8E156BAA-BEBF-4744-B863-2D4198067629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3716336217" sldId="351"/>
            <ac:cxnSpMk id="8" creationId="{EAF6CAED-965B-2946-90ED-0C4C78D1AF17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178818183" sldId="352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8818183" sldId="352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178818183" sldId="352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8818183" sldId="352"/>
            <ac:spMk id="5" creationId="{555604FE-141D-6645-AB98-E5D4D3C90856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78818183" sldId="352"/>
            <ac:picMk id="3" creationId="{D3538396-AD15-E945-BBFA-CD4E4E7B13F8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78818183" sldId="352"/>
            <ac:picMk id="6" creationId="{1084ABA2-2181-3648-9F0B-25AC2293665C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78818183" sldId="352"/>
            <ac:picMk id="12" creationId="{66C39BFB-3FAF-AA43-A4D6-2220E2B2DE78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78818183" sldId="352"/>
            <ac:picMk id="15" creationId="{725801DA-FA7E-F941-8B12-D27E2205D87E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178818183" sldId="352"/>
            <ac:cxnSpMk id="8" creationId="{A58C18FD-2B03-F642-8729-838FF160FC40}"/>
          </ac:cxnSpMkLst>
        </pc:cxn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178818183" sldId="352"/>
            <ac:cxnSpMk id="13" creationId="{A017306C-F8F0-B04F-A118-EB7ADEBE332F}"/>
          </ac:cxnSpMkLst>
        </pc:cxn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178818183" sldId="352"/>
            <ac:cxnSpMk id="17" creationId="{14AF3FB8-F890-6D42-816B-3D9B43589794}"/>
          </ac:cxnSpMkLst>
        </pc:cxn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178818183" sldId="352"/>
            <ac:cxnSpMk id="23" creationId="{7C71261E-C6E6-AE47-9804-DBF1D7A096A6}"/>
          </ac:cxnSpMkLst>
        </pc:cxn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178818183" sldId="352"/>
            <ac:cxnSpMk id="28" creationId="{2FECBD36-FE2C-4C43-8E77-41D47E851736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1568504011" sldId="353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568504011" sldId="353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1568504011" sldId="353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568504011" sldId="353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568504011" sldId="353"/>
            <ac:spMk id="11" creationId="{B61E0229-3199-9344-BF2B-60EDF6425AEA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568504011" sldId="353"/>
            <ac:picMk id="6" creationId="{BE97124A-467D-DF48-8038-5F6A0F3268F0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568504011" sldId="353"/>
            <ac:picMk id="9" creationId="{3FC2CD22-F0D8-6E49-A953-C4CEE3485D59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1568504011" sldId="353"/>
            <ac:cxnSpMk id="8" creationId="{EAF6CAED-965B-2946-90ED-0C4C78D1AF17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1119758586" sldId="354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119758586" sldId="354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1119758586" sldId="354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119758586" sldId="354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119758586" sldId="354"/>
            <ac:spMk id="10" creationId="{79B4B046-2717-BC49-8B46-065F25441815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119758586" sldId="354"/>
            <ac:spMk id="11" creationId="{68FA2B16-6406-3740-A34F-51D31A2E7A46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119758586" sldId="354"/>
            <ac:picMk id="6" creationId="{A0076FEA-26F3-C142-BBFD-F3E39D6B7A76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119758586" sldId="354"/>
            <ac:picMk id="9" creationId="{8F0709DE-BE71-804E-854A-2D6D326511AE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1119758586" sldId="354"/>
            <ac:cxnSpMk id="8" creationId="{EAF6CAED-965B-2946-90ED-0C4C78D1AF17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906402260" sldId="355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906402260" sldId="355"/>
            <ac:spMk id="2" creationId="{9F8FAFFF-A32B-7742-BCFF-5F4489091338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906402260" sldId="355"/>
            <ac:spMk id="3" creationId="{BB54D70D-C228-6E42-BFDF-EFF5EF8790C7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906402260" sldId="355"/>
            <ac:spMk id="4" creationId="{276BF267-0ACD-F041-B229-63D9A4609291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906402260" sldId="355"/>
            <ac:spMk id="5" creationId="{F6EDEF77-D2E9-F242-9CBC-4B2120B54E9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906402260" sldId="355"/>
            <ac:spMk id="6" creationId="{5AC4A862-8604-084F-87C9-D2FB4881AD21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906402260" sldId="355"/>
            <ac:picMk id="7" creationId="{35239896-8C8B-C940-9746-727D98557092}"/>
          </ac:picMkLst>
        </pc:pic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788053049" sldId="356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788053049" sldId="356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788053049" sldId="356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788053049" sldId="356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788053049" sldId="356"/>
            <ac:spMk id="7" creationId="{726EACEF-83EB-C249-AEE0-7E735D27208C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788053049" sldId="356"/>
            <ac:spMk id="9" creationId="{11AE8FD6-28B8-E047-BDD4-CA697AEDA5F6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788053049" sldId="356"/>
            <ac:picMk id="6" creationId="{F07AA498-D4F8-0B4A-A126-7FE4B0ADBEBD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788053049" sldId="356"/>
            <ac:picMk id="12" creationId="{79006372-0ED1-9D40-8D34-DE6795EF0BAC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788053049" sldId="356"/>
            <ac:picMk id="16" creationId="{BA1484B0-177D-354E-9E22-785AE74C550D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788053049" sldId="356"/>
            <ac:picMk id="18" creationId="{21612D00-A418-D043-ADDF-AF0CD4BACBC7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3788053049" sldId="356"/>
            <ac:cxnSpMk id="8" creationId="{A58C18FD-2B03-F642-8729-838FF160FC40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230501836" sldId="357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230501836" sldId="357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230501836" sldId="357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230501836" sldId="357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230501836" sldId="357"/>
            <ac:spMk id="7" creationId="{726EACEF-83EB-C249-AEE0-7E735D27208C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230501836" sldId="357"/>
            <ac:spMk id="17" creationId="{BEFC5A31-4B1C-6946-A80F-80A473062872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230501836" sldId="357"/>
            <ac:picMk id="10" creationId="{11B14229-684B-E640-8FCA-2EF6BF364058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230501836" sldId="357"/>
            <ac:picMk id="13" creationId="{3D6119F0-25C0-294F-B3CF-F45D9E956183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230501836" sldId="357"/>
            <ac:picMk id="15" creationId="{2359F221-2841-9644-ACDA-440C4AABBF3E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3230501836" sldId="357"/>
            <ac:cxnSpMk id="8" creationId="{A58C18FD-2B03-F642-8729-838FF160FC40}"/>
          </ac:cxnSpMkLst>
        </pc:cxnChg>
      </pc:sldChg>
      <pc:sldChg chg="modSp">
        <pc:chgData name="Revocatus Washington Paul" userId="S::catuspaul_gmail.com#ext#@worldbankgroup.onmicrosoft.com::b13f5400-0b53-417f-9ea3-8ee32bb124d8" providerId="AD" clId="Web-{899707FB-59FB-EE9F-45F1-202D31171D53}" dt="2022-03-09T07:08:01.012" v="43"/>
        <pc:sldMkLst>
          <pc:docMk/>
          <pc:sldMk cId="3918405635" sldId="358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918405635" sldId="358"/>
            <ac:spMk id="2" creationId="{E01226A3-FD12-4BA7-ABF5-9D408688073E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918405635" sldId="358"/>
            <ac:spMk id="4" creationId="{1EE6E14C-DFEC-4A41-972C-3C099E1C11EF}"/>
          </ac:spMkLst>
        </pc:sp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425921230" sldId="361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425921230" sldId="361"/>
            <ac:spMk id="2" creationId="{6F428DEF-BC7B-45A2-BAA3-03E55AD44AF2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425921230" sldId="361"/>
            <ac:spMk id="3" creationId="{6AD38473-9489-4BFC-88D0-1C6A72E33338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425921230" sldId="361"/>
            <ac:spMk id="4" creationId="{A8C646D1-EB38-4266-8119-1E427BFEBB08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425921230" sldId="361"/>
            <ac:spMk id="5" creationId="{66F02C85-C640-4FA7-9E2E-BA24577BC52C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425921230" sldId="361"/>
            <ac:picMk id="7" creationId="{8565D5FD-BA3E-4535-AD22-1F171A5E9CA1}"/>
          </ac:picMkLst>
        </pc:pic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53829710" sldId="362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53829710" sldId="362"/>
            <ac:spMk id="2" creationId="{BD1B06A8-1D0D-4F0B-980A-A14461073483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53829710" sldId="362"/>
            <ac:spMk id="4" creationId="{8080E56D-021E-4EA9-A27B-2FD9F559760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53829710" sldId="362"/>
            <ac:spMk id="5" creationId="{258DFF39-05D4-4903-92F4-2E6F3B75151F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53829710" sldId="362"/>
            <ac:picMk id="6" creationId="{047CDA6B-DB73-4FE0-ABF6-FD371435576A}"/>
          </ac:picMkLst>
        </pc:pic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2248430675" sldId="363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248430675" sldId="363"/>
            <ac:spMk id="3" creationId="{9E9C2FA6-A852-4003-B484-DB530EC37CFC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2248430675" sldId="363"/>
            <ac:spMk id="4" creationId="{8A551644-0E40-4C51-8408-39CF75D98188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248430675" sldId="363"/>
            <ac:spMk id="5" creationId="{231CF525-C19A-42BE-B43D-7D6FDC3E6321}"/>
          </ac:spMkLst>
        </pc:spChg>
      </pc:sldChg>
      <pc:sldChg chg="addSp delSp modSp new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441046725" sldId="364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41046725" sldId="364"/>
            <ac:spMk id="2" creationId="{ECF600E7-7337-4721-9926-6BF924691614}"/>
          </ac:spMkLst>
        </pc:spChg>
        <pc:spChg chg="del">
          <ac:chgData name="Revocatus Washington Paul" userId="S::catuspaul_gmail.com#ext#@worldbankgroup.onmicrosoft.com::b13f5400-0b53-417f-9ea3-8ee32bb124d8" providerId="AD" clId="Web-{899707FB-59FB-EE9F-45F1-202D31171D53}" dt="2022-03-09T06:52:27.202" v="19"/>
          <ac:spMkLst>
            <pc:docMk/>
            <pc:sldMk cId="441046725" sldId="364"/>
            <ac:spMk id="3" creationId="{EA51E967-56DD-4242-AF62-4D5843B5482C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441046725" sldId="364"/>
            <ac:spMk id="4" creationId="{E41A5437-EC39-4DB5-8909-9D7C222CA5E8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41046725" sldId="364"/>
            <ac:spMk id="5" creationId="{E09A7154-CA42-4B90-B623-4BB1E089C01F}"/>
          </ac:spMkLst>
        </pc:spChg>
        <pc:picChg chg="add 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441046725" sldId="364"/>
            <ac:picMk id="6" creationId="{EA8C830B-A764-4786-9FB4-B0F94B39B738}"/>
          </ac:picMkLst>
        </pc:picChg>
        <pc:picChg chg="add 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441046725" sldId="364"/>
            <ac:picMk id="7" creationId="{C4F57C8B-FEE7-4AA3-9066-C555B387920B}"/>
          </ac:picMkLst>
        </pc:picChg>
      </pc:sldChg>
      <pc:sldChg chg="new del">
        <pc:chgData name="Revocatus Washington Paul" userId="S::catuspaul_gmail.com#ext#@worldbankgroup.onmicrosoft.com::b13f5400-0b53-417f-9ea3-8ee32bb124d8" providerId="AD" clId="Web-{899707FB-59FB-EE9F-45F1-202D31171D53}" dt="2022-03-09T06:51:47.153" v="1"/>
        <pc:sldMkLst>
          <pc:docMk/>
          <pc:sldMk cId="1033595403" sldId="364"/>
        </pc:sldMkLst>
      </pc:sldChg>
      <pc:sldChg chg="new del">
        <pc:chgData name="Revocatus Washington Paul" userId="S::catuspaul_gmail.com#ext#@worldbankgroup.onmicrosoft.com::b13f5400-0b53-417f-9ea3-8ee32bb124d8" providerId="AD" clId="Web-{899707FB-59FB-EE9F-45F1-202D31171D53}" dt="2022-03-09T06:53:30.534" v="33"/>
        <pc:sldMkLst>
          <pc:docMk/>
          <pc:sldMk cId="1565081808" sldId="365"/>
        </pc:sldMkLst>
      </pc:sldChg>
      <pc:sldMasterChg chg="modSp mod modSldLayout">
        <pc:chgData name="Revocatus Washington Paul" userId="S::catuspaul_gmail.com#ext#@worldbankgroup.onmicrosoft.com::b13f5400-0b53-417f-9ea3-8ee32bb124d8" providerId="AD" clId="Web-{899707FB-59FB-EE9F-45F1-202D31171D53}" dt="2022-03-09T07:10:35.787" v="45"/>
        <pc:sldMasterMkLst>
          <pc:docMk/>
          <pc:sldMasterMk cId="0" sldId="2147485197"/>
        </pc:sldMaster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asterMk cId="0" sldId="2147485197"/>
            <ac:spMk id="3" creationId="{86ADA595-92A9-4B98-AA7B-ECE1B6F95693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asterMk cId="0" sldId="2147485197"/>
            <ac:spMk id="5" creationId="{ED03B09E-A190-40DB-B7C3-7DF9280DEAF7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asterMk cId="0" sldId="2147485197"/>
            <ac:spMk id="1027" creationId="{D97DBB43-0A59-47D5-A1F5-7059D3682D01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asterMk cId="0" sldId="2147485197"/>
            <ac:spMk id="1032" creationId="{B860B886-E91D-410D-BF9F-1AE7433ADE34}"/>
          </ac:spMkLst>
        </pc:sp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0" sldId="2147485197"/>
            <pc:sldLayoutMk cId="704198180" sldId="2147485432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197"/>
              <pc:sldLayoutMk cId="704198180" sldId="2147485432"/>
              <ac:spMk id="6" creationId="{0CF1B245-662B-4CE9-8D7B-DDF0A1C3FEDF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197"/>
              <pc:sldLayoutMk cId="704198180" sldId="2147485432"/>
              <ac:spMk id="7" creationId="{26C14DB2-16F3-445D-9D26-8EB45FE3D14F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197"/>
              <pc:sldLayoutMk cId="704198180" sldId="2147485432"/>
              <ac:spMk id="8" creationId="{15D8C0E8-0E0C-42DA-A1A0-ED2E45DB1A7E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197"/>
              <pc:sldLayoutMk cId="704198180" sldId="2147485432"/>
              <ac:spMk id="6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197"/>
              <pc:sldLayoutMk cId="704198180" sldId="2147485432"/>
              <ac:spMk id="7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197"/>
              <pc:sldLayoutMk cId="704198180" sldId="2147485432"/>
              <ac:spMk id="33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197"/>
              <pc:sldLayoutMk cId="704198180" sldId="2147485432"/>
              <ac:spMk id="332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0" sldId="2147485197"/>
            <pc:sldLayoutMk cId="2877979419" sldId="2147485433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197"/>
              <pc:sldLayoutMk cId="2877979419" sldId="2147485433"/>
              <ac:spMk id="6" creationId="{3AA1929D-CE20-47EC-8C98-5D6929AF4FC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197"/>
              <pc:sldLayoutMk cId="2877979419" sldId="2147485433"/>
              <ac:spMk id="7" creationId="{9C126BA2-3BAB-4373-AE35-894C1318315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197"/>
              <pc:sldLayoutMk cId="2877979419" sldId="2147485433"/>
              <ac:spMk id="6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197"/>
              <pc:sldLayoutMk cId="2877979419" sldId="2147485433"/>
              <ac:spMk id="7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197"/>
              <pc:sldLayoutMk cId="2877979419" sldId="2147485433"/>
              <ac:spMk id="33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197"/>
              <pc:sldLayoutMk cId="2877979419" sldId="2147485433"/>
              <ac:spMk id="332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0" sldId="2147485197"/>
            <pc:sldLayoutMk cId="2702998540" sldId="2147485434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197"/>
              <pc:sldLayoutMk cId="2702998540" sldId="2147485434"/>
              <ac:spMk id="6" creationId="{2DDCD659-8A1E-43D1-A303-AC7DA1BB421F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197"/>
              <pc:sldLayoutMk cId="2702998540" sldId="2147485434"/>
              <ac:spMk id="7" creationId="{F578C439-90F1-4B6F-8D04-9B769F77E215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197"/>
              <pc:sldLayoutMk cId="2702998540" sldId="2147485434"/>
              <ac:spMk id="8" creationId="{C5546F9E-B215-488B-83F5-D1F383644CC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197"/>
              <pc:sldLayoutMk cId="2702998540" sldId="2147485434"/>
              <ac:spMk id="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197"/>
              <pc:sldLayoutMk cId="2702998540" sldId="2147485434"/>
              <ac:spMk id="7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197"/>
              <pc:sldLayoutMk cId="2702998540" sldId="2147485434"/>
              <ac:spMk id="33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197"/>
              <pc:sldLayoutMk cId="2702998540" sldId="2147485434"/>
              <ac:spMk id="332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0" sldId="2147485197"/>
            <pc:sldLayoutMk cId="1937485406" sldId="2147485456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197"/>
              <pc:sldLayoutMk cId="1937485406" sldId="2147485456"/>
              <ac:spMk id="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197"/>
              <pc:sldLayoutMk cId="1937485406" sldId="2147485456"/>
              <ac:spMk id="5" creationId="{00000000-0000-0000-0000-000000000000}"/>
            </ac:spMkLst>
          </pc:spChg>
        </pc:sldLayoutChg>
      </pc:sldMasterChg>
      <pc:sldMasterChg chg="modSp mod modSldLayout">
        <pc:chgData name="Revocatus Washington Paul" userId="S::catuspaul_gmail.com#ext#@worldbankgroup.onmicrosoft.com::b13f5400-0b53-417f-9ea3-8ee32bb124d8" providerId="AD" clId="Web-{899707FB-59FB-EE9F-45F1-202D31171D53}" dt="2022-03-09T07:10:35.787" v="45"/>
        <pc:sldMasterMkLst>
          <pc:docMk/>
          <pc:sldMasterMk cId="0" sldId="2147485265"/>
        </pc:sldMaster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asterMk cId="0" sldId="2147485265"/>
            <ac:spMk id="4" creationId="{BF949415-C68B-4256-8C6D-36EF938F5E53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asterMk cId="0" sldId="2147485265"/>
            <ac:spMk id="5" creationId="{4405C56D-F3D2-4AAD-A017-DBDF3BC173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asterMk cId="0" sldId="2147485265"/>
            <ac:spMk id="1033" creationId="{E717C7F2-09B8-48FD-92A8-8F7BDD8839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asterMk cId="0" sldId="2147485265"/>
            <ac:spMk id="2050" creationId="{A0395516-B671-4F92-A043-4E79CC001E60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asterMk cId="0" sldId="2147485265"/>
            <ac:spMk id="2051" creationId="{9A876958-6681-44E3-8FFF-73B1A3EB73A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asterMk cId="0" sldId="2147485265"/>
            <ac:spMk id="2052" creationId="{B53E3D77-2D79-4C0F-B263-F7A4D2FE72BB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asterMk cId="0" sldId="2147485265"/>
            <ac:spMk id="2054" creationId="{A5DD15D1-D7E3-4BEF-B088-0F86437D232D}"/>
          </ac:spMkLst>
        </pc:sp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0" sldId="2147485265"/>
            <pc:sldLayoutMk cId="1846503039" sldId="2147485420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846503039" sldId="2147485420"/>
              <ac:spMk id="3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846503039" sldId="2147485420"/>
              <ac:spMk id="4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0" sldId="2147485265"/>
            <pc:sldLayoutMk cId="67355973" sldId="2147485421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67355973" sldId="2147485421"/>
              <ac:spMk id="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67355973" sldId="2147485421"/>
              <ac:spMk id="4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0" sldId="2147485265"/>
            <pc:sldLayoutMk cId="1541776082" sldId="2147485422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541776082" sldId="2147485422"/>
              <ac:spMk id="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541776082" sldId="2147485422"/>
              <ac:spMk id="4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541776082" sldId="2147485422"/>
              <ac:spMk id="6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541776082" sldId="2147485422"/>
              <ac:spMk id="12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0" sldId="2147485265"/>
            <pc:sldLayoutMk cId="4243939519" sldId="2147485423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4243939519" sldId="2147485423"/>
              <ac:spMk id="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4243939519" sldId="2147485423"/>
              <ac:spMk id="4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4243939519" sldId="2147485423"/>
              <ac:spMk id="6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4243939519" sldId="2147485423"/>
              <ac:spMk id="7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4243939519" sldId="2147485423"/>
              <ac:spMk id="8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0" sldId="2147485265"/>
            <pc:sldLayoutMk cId="1866643189" sldId="2147485424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866643189" sldId="2147485424"/>
              <ac:spMk id="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866643189" sldId="2147485424"/>
              <ac:spMk id="4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0" sldId="2147485265"/>
            <pc:sldLayoutMk cId="143247085" sldId="2147485425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43247085" sldId="2147485425"/>
              <ac:spMk id="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43247085" sldId="2147485425"/>
              <ac:spMk id="4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0" sldId="2147485265"/>
            <pc:sldLayoutMk cId="1215802079" sldId="2147485426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215802079" sldId="2147485426"/>
              <ac:spMk id="3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215802079" sldId="2147485426"/>
              <ac:spMk id="4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0" sldId="2147485265"/>
            <pc:sldLayoutMk cId="3677689056" sldId="2147485427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677689056" sldId="2147485427"/>
              <ac:spMk id="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677689056" sldId="2147485427"/>
              <ac:spMk id="5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0" sldId="2147485265"/>
            <pc:sldLayoutMk cId="3327675959" sldId="2147485428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327675959" sldId="2147485428"/>
              <ac:spMk id="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327675959" sldId="2147485428"/>
              <ac:spMk id="5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327675959" sldId="2147485428"/>
              <ac:spMk id="13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0" sldId="2147485265"/>
            <pc:sldLayoutMk cId="25771157" sldId="2147485429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5771157" sldId="2147485429"/>
              <ac:spMk id="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5771157" sldId="2147485429"/>
              <ac:spMk id="5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5771157" sldId="2147485429"/>
              <ac:spMk id="8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5771157" sldId="2147485429"/>
              <ac:spMk id="13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0" sldId="2147485265"/>
            <pc:sldLayoutMk cId="2599829524" sldId="2147485430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599829524" sldId="2147485430"/>
              <ac:spMk id="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599829524" sldId="2147485430"/>
              <ac:spMk id="8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599829524" sldId="2147485430"/>
              <ac:spMk id="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599829524" sldId="2147485430"/>
              <ac:spMk id="13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599829524" sldId="2147485430"/>
              <ac:spMk id="14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0" sldId="2147485265"/>
            <pc:sldLayoutMk cId="3260782398" sldId="2147485431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260782398" sldId="2147485431"/>
              <ac:spMk id="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260782398" sldId="2147485431"/>
              <ac:spMk id="6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0" sldId="2147485265"/>
            <pc:sldLayoutMk cId="3008229247" sldId="2147485435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008229247" sldId="2147485435"/>
              <ac:spMk id="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008229247" sldId="2147485435"/>
              <ac:spMk id="4" creationId="{BEFE54EC-9574-448A-B6BB-07B428BEA981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008229247" sldId="2147485435"/>
              <ac:spMk id="7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0" sldId="2147485265"/>
            <pc:sldLayoutMk cId="1190349779" sldId="2147485436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4" creationId="{BF74A5D1-E605-4D81-90FE-6F2B13C01768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5" creationId="{01DD12B7-C629-4976-9ACD-FCC70A055E13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6" creationId="{3E30CA1A-7957-46D7-B31E-09AAFC950C1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7" creationId="{904A2B60-F521-4AE2-99A1-DA654C4BCDD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8" creationId="{B7873832-0F8E-447A-AB27-F36C306C71C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9" creationId="{034F07D4-7F88-4A9D-8194-9A2627189DD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10" creationId="{D443818B-EB90-429C-948F-0D1F35A9ECF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11" creationId="{0736BF39-5F17-45F3-89DB-06D3A38FEEFA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12" creationId="{F965DA1C-EC49-4EEB-B4D2-557F31BE71A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13" creationId="{D080D1D2-0FD4-4749-86F5-4CFA990E6F0F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14" creationId="{1F81CC65-6C01-4E10-AB84-637D422009A7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15" creationId="{27BACB60-EACB-48D7-A438-A599CDBA9BF7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16" creationId="{4A5CBFD5-0D61-4DEA-8C98-52069A627B16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17" creationId="{F9D75C7C-0F72-4947-A182-13BA599D38C8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18" creationId="{C8EEFCC4-99FD-4FD2-8296-A4DAE6520EEA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19" creationId="{0E1EFA4F-C800-46CE-BF3D-53CFAB639FB4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20" creationId="{D0BC8ED6-B24C-463E-B95C-91E670194707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21" creationId="{752E1205-A3F1-46DF-9156-7ED9A56768E7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22" creationId="{D17374B4-476A-4218-A172-5B3617193BB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23" creationId="{9F028583-84F8-4EC3-AC24-F39C7F76394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24" creationId="{7C3CC87D-A8F0-4BA1-8C1E-8ACD74D0A6A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25" creationId="{40D36F21-63E6-4304-812E-5B2B6B9B48A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26" creationId="{5FCE5033-8E2A-466E-8E91-D921563B3D96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27" creationId="{D8F79057-6BF8-4541-8180-7B909F4CB7A4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28" creationId="{4FFD1152-F594-471D-82B4-F332F94D1AE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29" creationId="{7B593E49-2670-4DB6-BA06-5C7FCC7D80D4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30" creationId="{5096E5AF-8F41-49AF-9601-A2D31AC43D3E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31" creationId="{85A10230-695A-4CE7-B7BA-DF8C77AA28EA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32" creationId="{62CEC189-54BF-4E7A-8E2B-AA9A0D3A7B15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33" creationId="{FDB93DC5-8EA5-4A47-8B7B-F245F8EA16D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34" creationId="{E5B215D6-AB55-40A7-A3B3-F7847A53A5E3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35" creationId="{C9FA6622-F1E7-47BE-9A86-EE4AE24EE9B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36" creationId="{A28A83BF-2CF8-489B-818F-DE9E66B29D26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37" creationId="{5DEA8D7E-636C-414C-9A79-5855329DD1E1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38" creationId="{FE4D6F85-48F2-4361-A366-72B0DCF9107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39" creationId="{96356A3F-75C7-4A63-9873-FC79E70F6153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40" creationId="{5DAF9F12-96EA-47C4-B743-5D9B3B54F9D8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41" creationId="{5EF66D8C-5091-4D59-9DF4-91C7308C72C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42" creationId="{3BE8CC15-403E-434F-AF29-6C803D096A53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43" creationId="{29F2280B-3D29-4DC4-9052-A5C755B7F7E3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44" creationId="{375C756E-9B95-4522-AB9E-FD7A8192223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45" creationId="{0E36EB8E-3009-4B85-89FE-E1EB397025B3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46" creationId="{4652C408-C8DE-4AEF-84FF-04738B276A5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47" creationId="{65DDB928-6962-4937-807D-62A114109EF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48" creationId="{B11A7616-B4D3-479F-BF02-9B7026902CAE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49" creationId="{24A84131-3A14-44D3-9B85-9ED77DDD05E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50" creationId="{ED08C6BA-B7F1-4F52-8234-21CED504BBE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51" creationId="{D139A433-1BF8-414C-8899-53D817A7EAB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52" creationId="{039794E7-2081-4923-81D4-EF06F6518946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53" creationId="{E5607C9B-7F93-4422-9716-1A51F1012544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54" creationId="{7562A6B4-3318-416A-A485-4945D53F3F4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55" creationId="{E6056AB4-CF5B-451D-BEB4-EB1A786D2DA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56" creationId="{AA5C84C2-405A-4C71-8DAC-EDE22661FBB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57" creationId="{F3E889C8-0A4E-4ED0-98B5-F27F6C025B4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58" creationId="{256C39E5-9F26-4C02-B9CC-E798BD1C8264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59" creationId="{A15D68F8-CC3A-497E-B1EB-7E330318584E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60" creationId="{8B2A8A74-E713-407D-B56E-14C7579D04E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61" creationId="{25977F99-B333-4259-BD6F-A11DA7EAC9AE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62" creationId="{56892C96-FF29-4786-B1FC-46125B276CC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324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331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0" sldId="2147485265"/>
            <pc:sldLayoutMk cId="3948999294" sldId="2147485437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948999294" sldId="2147485437"/>
              <ac:spMk id="5" creationId="{DEB0FBCB-A869-4CAE-8825-C4AF702FA324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948999294" sldId="2147485437"/>
              <ac:spMk id="6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948999294" sldId="2147485437"/>
              <ac:spMk id="7" creationId="{39F75347-F413-4844-8D83-E80CC33E9E0A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948999294" sldId="2147485437"/>
              <ac:spMk id="324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948999294" sldId="2147485437"/>
              <ac:spMk id="331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0" sldId="2147485265"/>
            <pc:sldLayoutMk cId="2945124825" sldId="2147485438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73" creationId="{5BFEFA31-B9C6-4568-B0C8-64632FA0DAF5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74" creationId="{8A81A185-1E4C-4AC8-BF2B-77C6E5DE8665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75" creationId="{6D64B74A-C5EA-4979-B7B8-7A9E6F1684B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76" creationId="{D13571BC-E645-465F-A286-1CD5AF98EB0A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77" creationId="{F8F7D73E-C852-4F61-8745-018FE346BF76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78" creationId="{03083A04-8FF9-4CE0-97C1-E0CD8017F006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79" creationId="{2FF406BE-DA23-461F-9B7D-4D45B480DBC4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80" creationId="{1D7A9035-6B98-49F4-A062-4C35EE32151F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81" creationId="{99F64C7C-A7FF-4303-898B-9BDF2A8B681F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82" creationId="{4D8CECC3-10E0-4B69-B5FC-D2FC02EFFC4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83" creationId="{A1685C3C-4DEA-4429-B033-36B7FE92E08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84" creationId="{77FC5C64-0DD9-4B2A-ABF2-A522609F911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85" creationId="{D3D080CD-8E75-4B8E-884A-32AB3A48C60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86" creationId="{CE9A6D95-CB39-4143-9036-C63743CD87A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87" creationId="{CC8F3F55-1CAF-4EFE-88C0-06DCDE473673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88" creationId="{4584A908-01FC-4932-9006-155BF5BAF468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89" creationId="{ACB354BF-ECF8-4F3A-814E-C29D34699827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90" creationId="{EEA806DA-DF24-4B3D-B26B-D9A57FBFEE67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91" creationId="{95D34BCF-741B-46EB-A0F3-3DC5A1F1953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92" creationId="{2753965E-146B-45D0-B8E5-BBF74F452294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93" creationId="{B242A472-F266-4C4C-BF69-7338CCCFED46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94" creationId="{FBCC16A7-2961-4DE5-BC90-3C9E8602B41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95" creationId="{4C8A5580-AFEE-417A-A853-490CC2B571DE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96" creationId="{ED0830FB-256C-46A3-BC49-466ACFAF3565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97" creationId="{33431B4B-1A77-4C94-BFEC-DDC54E826521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98" creationId="{CB8FFAA2-3DE7-4296-96A1-0BC2C301FCB1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99" creationId="{13F89176-268E-45EC-8951-7934E269005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00" creationId="{A1CAB820-8B52-405B-98C8-EFA9B48C3C33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01" creationId="{C40ED277-0E0F-4E8B-AAE9-655F9B96372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02" creationId="{C893446B-533B-4608-928E-63CE79226518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03" creationId="{402AA6B7-780F-4EA7-89ED-D0DE58F9449F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04" creationId="{82EF9DA2-A776-4D28-881A-18243BADD181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05" creationId="{DA207D8E-C082-43E3-80E5-4C5DA25CB30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06" creationId="{05CA4221-63B1-478C-9F93-1E7B4AB4EB17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07" creationId="{BD88FF35-D636-4E9B-B9DF-1A75BA49365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08" creationId="{2CEA3ADF-B15E-4ECF-B5C0-46F2F436726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09" creationId="{7CB50F23-B67A-43E6-83FE-8237A51634D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10" creationId="{EBCC7CB4-7B4A-4856-8CF9-FE498F15A99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11" creationId="{BC0D8EC9-402C-458F-9B3D-142AE4A5462E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12" creationId="{41D9D3F6-860D-4FB2-AD14-7DC20EA7C6A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13" creationId="{4825CE13-8785-4085-A37B-1D18B8BA2748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14" creationId="{3710C93C-C05D-42DC-A957-7C5DC980D46A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15" creationId="{5F993EA7-E2A3-4456-A2E5-B4837BDA5178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16" creationId="{74723A15-4FE7-4086-B308-767C163CD95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17" creationId="{0A4A6AFC-5CBA-4C34-9450-909706E848D8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18" creationId="{64A1271F-83F9-4E1A-B484-388153E8B2A4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19" creationId="{34F67DE2-D81A-442F-8284-478EE3AFB69F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20" creationId="{50BCEB9C-9ADE-4FB4-84D2-D43E3CA020D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21" creationId="{0C01A04C-46E3-4CA9-B136-3AD4C8526B34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22" creationId="{B8A5F8A8-B194-45B0-A9E8-70AE0481A9A6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23" creationId="{3BA78006-D01A-4B17-A59B-8F3C2DDDD03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24" creationId="{B5EDB39B-F85C-48BF-8518-92590913DB4A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25" creationId="{AEB793CE-F646-4BF6-9D40-7E63462D2D9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26" creationId="{E9311476-55AD-4B7F-B714-0A70788B19A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27" creationId="{DCA3F208-A0E6-4ED7-8927-D46B7558AD6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28" creationId="{8F556CCB-ED3C-426A-9751-06CB55FF5D64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29" creationId="{6C9DAFE8-FADA-4582-8642-15181C5AF01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30" creationId="{DA308D48-9CCF-454E-9A08-7E466A9386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7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71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7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73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74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75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76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77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78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7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8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81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8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83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84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85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86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87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88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8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9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91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9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93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94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95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96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97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98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9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0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01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0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03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04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05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06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07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08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0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1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11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1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13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14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15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16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17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18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1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2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21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2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23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24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25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26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27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28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2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3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31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3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33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34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35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36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37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38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3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324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0" sldId="2147485265"/>
            <pc:sldLayoutMk cId="3186141086" sldId="2147485439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186141086" sldId="2147485439"/>
              <ac:spMk id="3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186141086" sldId="2147485439"/>
              <ac:spMk id="4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186141086" sldId="2147485439"/>
              <ac:spMk id="5" creationId="{777C7912-EB96-401D-AF7F-DBB229E34E8F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0" sldId="2147485265"/>
            <pc:sldLayoutMk cId="3811448663" sldId="2147485440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4" creationId="{F5443646-2BBE-4CB4-85A5-01F5536D4E87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5" creationId="{5561750D-5EAB-4E8E-9BA7-56A2461A6ADF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6" creationId="{EBC536A5-1EE3-47EE-B7BA-E5DA1A9B963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7" creationId="{F29A461E-FA6E-4F77-8945-20C4A806A6E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8" creationId="{AA9EA68B-2152-4AFA-A56D-3EB7F452C34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9" creationId="{9EDA1A86-0E97-4168-AF3E-E519BA53ABF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10" creationId="{488C7E4F-160A-4C86-98D4-5E2EEA4404E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11" creationId="{95B663A3-EEEF-43FB-88D9-748202387491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12" creationId="{AD57A127-BA94-4872-9699-2CA53C14EE43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13" creationId="{216051F6-642C-4F85-91FA-54B0D8AB0661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14" creationId="{120D44E4-6057-400F-8955-CBFDD582E71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15" creationId="{7CADB504-84D3-4728-B8AA-138AE3B9299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16" creationId="{300D1B4F-C958-4F5A-AEDE-8B71992B942E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17" creationId="{D6AE6C6B-AACE-46C1-8147-521111FAF03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18" creationId="{0AEFC53D-DE6F-4432-9FA3-F435D9008EC8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19" creationId="{C43A71AD-6B72-4627-A98D-CBE7417AE26A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20" creationId="{B1EC7346-7D52-46E8-A2D7-AE11E76CC053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21" creationId="{ED4891B8-7A1A-4AD8-AAB4-034F6F9BB1E8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22" creationId="{DD8D646D-34CB-4989-8377-E18F3B1E7C8A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23" creationId="{3B383013-3EE0-456E-8944-D531EADF009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24" creationId="{B06DA6A3-DC4A-43D8-8701-7DD0840398C3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25" creationId="{004C03E0-D520-4C46-84A4-CEADD5106A93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26" creationId="{8949073E-47FA-47EC-B259-B057D426433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27" creationId="{C9EC1F35-2002-4149-A579-EF11C8394B07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28" creationId="{70DA9AFC-9F04-4B5F-8631-B8D87C1F1088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29" creationId="{0C191B0B-86A9-45FD-AF75-B5AAB4CB5E81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30" creationId="{36DF7B13-9987-4A53-875E-86CAE5E02878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31" creationId="{87EBB480-8ECE-45DA-A8C0-6A4609EDF45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32" creationId="{C0B904BD-FCF6-47EA-8199-6E59D396DFC6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33" creationId="{30C241D3-9CEE-4DF2-A6B1-14A1627FCF86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34" creationId="{F860D8A0-708A-405D-8B62-22C11FDD72E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35" creationId="{F8D86008-2931-4645-B707-FE51BEC385A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36" creationId="{62B0D70F-3E1F-4084-B861-CC826250E997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37" creationId="{1E562536-1620-4CC1-B39B-60AF40D7BB6F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38" creationId="{A7953C10-A400-4069-BCDB-90B6F310B40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39" creationId="{74316169-67AC-4346-80A0-45E5EF2F62D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40" creationId="{71F8F222-321F-41BE-8A3F-98C830F64D3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41" creationId="{4EA3C75F-7134-4B73-98F8-D138DEBD5F8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42" creationId="{3E4A7133-D396-4AD7-BD5C-42CF34176AF1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43" creationId="{765E1B6F-25B2-4203-83E6-C59805B9C5F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44" creationId="{E613D3A9-A47D-4AE8-8BA0-3D244922D68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45" creationId="{4D8743BF-5717-4B66-B985-3937A1A11D4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46" creationId="{FD653BE8-74C7-4793-AF42-5A9B4CB8F47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47" creationId="{1CB282A9-AB0A-4B0D-B679-D7DC6A9A156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48" creationId="{7FDD4138-258F-4B6C-B39B-CB29D3A27E6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49" creationId="{E406F2F8-1C26-4939-9DF4-93F303EACDC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50" creationId="{93349CA1-7328-48EE-8556-B292F531659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51" creationId="{243A2CDF-1A9E-44C1-9A8E-26933612B46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52" creationId="{9E2745E2-E57C-49B9-8A13-28C8DE111D7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53" creationId="{E86D7443-57D0-4BCD-AEC5-C3001C44DE7A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54" creationId="{DBA0137C-CF52-41B7-B16D-E6CEB45E87E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55" creationId="{7935FE64-4D56-4F5F-BCCD-B1CD4AEAF591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56" creationId="{221B4476-1E08-4644-9E70-282F88ED9A2F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57" creationId="{5CE4AD47-E95F-484C-8383-B20548A028D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58" creationId="{C1003F0D-BDEC-4549-8A4E-31B1900AA11A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59" creationId="{4A9A9D02-D19B-4622-ABE8-8DA40E854F1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60" creationId="{B57CA1B4-B092-4016-83B4-589BAE35619E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61" creationId="{EFA6E290-CA5B-424A-9E11-7A5992CD7557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33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332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0" sldId="2147485265"/>
            <pc:sldLayoutMk cId="102200951" sldId="2147485522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02200951" sldId="2147485522"/>
              <ac:spMk id="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02200951" sldId="2147485522"/>
              <ac:spMk id="3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02200951" sldId="2147485522"/>
              <ac:spMk id="4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02200951" sldId="2147485522"/>
              <ac:spMk id="5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02200951" sldId="2147485522"/>
              <ac:spMk id="6" creationId="{00000000-0000-0000-0000-000000000000}"/>
            </ac:spMkLst>
          </pc:spChg>
        </pc:sldLayoutChg>
      </pc:sldMasterChg>
      <pc:sldMasterChg chg="modSp mod modSldLayout">
        <pc:chgData name="Revocatus Washington Paul" userId="S::catuspaul_gmail.com#ext#@worldbankgroup.onmicrosoft.com::b13f5400-0b53-417f-9ea3-8ee32bb124d8" providerId="AD" clId="Web-{899707FB-59FB-EE9F-45F1-202D31171D53}" dt="2022-03-09T07:10:35.787" v="45"/>
        <pc:sldMasterMkLst>
          <pc:docMk/>
          <pc:sldMasterMk cId="4236030168" sldId="2147485473"/>
        </pc:sldMaster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asterMk cId="4236030168" sldId="2147485473"/>
            <ac:spMk id="4" creationId="{BF949415-C68B-4256-8C6D-36EF938F5E53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asterMk cId="4236030168" sldId="2147485473"/>
            <ac:spMk id="5" creationId="{4405C56D-F3D2-4AAD-A017-DBDF3BC173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asterMk cId="4236030168" sldId="2147485473"/>
            <ac:spMk id="1033" creationId="{E717C7F2-09B8-48FD-92A8-8F7BDD8839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asterMk cId="4236030168" sldId="2147485473"/>
            <ac:spMk id="2050" creationId="{A0395516-B671-4F92-A043-4E79CC001E60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asterMk cId="4236030168" sldId="2147485473"/>
            <ac:spMk id="2051" creationId="{9A876958-6681-44E3-8FFF-73B1A3EB73A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asterMk cId="4236030168" sldId="2147485473"/>
            <ac:spMk id="2052" creationId="{B53E3D77-2D79-4C0F-B263-F7A4D2FE72BB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asterMk cId="4236030168" sldId="2147485473"/>
            <ac:spMk id="2054" creationId="{A5DD15D1-D7E3-4BEF-B088-0F86437D232D}"/>
          </ac:spMkLst>
        </pc:sp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4236030168" sldId="2147485473"/>
            <pc:sldLayoutMk cId="2800192375" sldId="2147485474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800192375" sldId="2147485474"/>
              <ac:spMk id="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800192375" sldId="2147485474"/>
              <ac:spMk id="4" creationId="{BEFE54EC-9574-448A-B6BB-07B428BEA981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800192375" sldId="2147485474"/>
              <ac:spMk id="7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4236030168" sldId="2147485473"/>
            <pc:sldLayoutMk cId="521831333" sldId="2147485475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4" creationId="{BF74A5D1-E605-4D81-90FE-6F2B13C01768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5" creationId="{01DD12B7-C629-4976-9ACD-FCC70A055E13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6" creationId="{3E30CA1A-7957-46D7-B31E-09AAFC950C1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7" creationId="{904A2B60-F521-4AE2-99A1-DA654C4BCDD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8" creationId="{B7873832-0F8E-447A-AB27-F36C306C71C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9" creationId="{034F07D4-7F88-4A9D-8194-9A2627189DD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10" creationId="{D443818B-EB90-429C-948F-0D1F35A9ECF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11" creationId="{0736BF39-5F17-45F3-89DB-06D3A38FEEFA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12" creationId="{F965DA1C-EC49-4EEB-B4D2-557F31BE71A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13" creationId="{D080D1D2-0FD4-4749-86F5-4CFA990E6F0F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14" creationId="{1F81CC65-6C01-4E10-AB84-637D422009A7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15" creationId="{27BACB60-EACB-48D7-A438-A599CDBA9BF7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16" creationId="{4A5CBFD5-0D61-4DEA-8C98-52069A627B16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17" creationId="{F9D75C7C-0F72-4947-A182-13BA599D38C8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18" creationId="{C8EEFCC4-99FD-4FD2-8296-A4DAE6520EEA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19" creationId="{0E1EFA4F-C800-46CE-BF3D-53CFAB639FB4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20" creationId="{D0BC8ED6-B24C-463E-B95C-91E670194707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21" creationId="{752E1205-A3F1-46DF-9156-7ED9A56768E7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22" creationId="{D17374B4-476A-4218-A172-5B3617193BB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23" creationId="{9F028583-84F8-4EC3-AC24-F39C7F76394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24" creationId="{7C3CC87D-A8F0-4BA1-8C1E-8ACD74D0A6A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25" creationId="{40D36F21-63E6-4304-812E-5B2B6B9B48A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26" creationId="{5FCE5033-8E2A-466E-8E91-D921563B3D96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27" creationId="{D8F79057-6BF8-4541-8180-7B909F4CB7A4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28" creationId="{4FFD1152-F594-471D-82B4-F332F94D1AE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29" creationId="{7B593E49-2670-4DB6-BA06-5C7FCC7D80D4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30" creationId="{5096E5AF-8F41-49AF-9601-A2D31AC43D3E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31" creationId="{85A10230-695A-4CE7-B7BA-DF8C77AA28EA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32" creationId="{62CEC189-54BF-4E7A-8E2B-AA9A0D3A7B15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33" creationId="{FDB93DC5-8EA5-4A47-8B7B-F245F8EA16D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34" creationId="{E5B215D6-AB55-40A7-A3B3-F7847A53A5E3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35" creationId="{C9FA6622-F1E7-47BE-9A86-EE4AE24EE9B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36" creationId="{A28A83BF-2CF8-489B-818F-DE9E66B29D26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37" creationId="{5DEA8D7E-636C-414C-9A79-5855329DD1E1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38" creationId="{FE4D6F85-48F2-4361-A366-72B0DCF9107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39" creationId="{96356A3F-75C7-4A63-9873-FC79E70F6153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40" creationId="{5DAF9F12-96EA-47C4-B743-5D9B3B54F9D8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41" creationId="{5EF66D8C-5091-4D59-9DF4-91C7308C72C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42" creationId="{3BE8CC15-403E-434F-AF29-6C803D096A53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43" creationId="{29F2280B-3D29-4DC4-9052-A5C755B7F7E3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44" creationId="{375C756E-9B95-4522-AB9E-FD7A8192223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45" creationId="{0E36EB8E-3009-4B85-89FE-E1EB397025B3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46" creationId="{4652C408-C8DE-4AEF-84FF-04738B276A5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47" creationId="{65DDB928-6962-4937-807D-62A114109EF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48" creationId="{B11A7616-B4D3-479F-BF02-9B7026902CAE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49" creationId="{24A84131-3A14-44D3-9B85-9ED77DDD05E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50" creationId="{ED08C6BA-B7F1-4F52-8234-21CED504BBE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51" creationId="{D139A433-1BF8-414C-8899-53D817A7EAB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52" creationId="{039794E7-2081-4923-81D4-EF06F6518946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53" creationId="{E5607C9B-7F93-4422-9716-1A51F1012544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54" creationId="{7562A6B4-3318-416A-A485-4945D53F3F4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55" creationId="{E6056AB4-CF5B-451D-BEB4-EB1A786D2DA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56" creationId="{AA5C84C2-405A-4C71-8DAC-EDE22661FBB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57" creationId="{F3E889C8-0A4E-4ED0-98B5-F27F6C025B4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58" creationId="{256C39E5-9F26-4C02-B9CC-E798BD1C8264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59" creationId="{A15D68F8-CC3A-497E-B1EB-7E330318584E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60" creationId="{8B2A8A74-E713-407D-B56E-14C7579D04E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61" creationId="{25977F99-B333-4259-BD6F-A11DA7EAC9AE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62" creationId="{56892C96-FF29-4786-B1FC-46125B276CC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324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331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4236030168" sldId="2147485473"/>
            <pc:sldLayoutMk cId="1054914800" sldId="2147485476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1054914800" sldId="2147485476"/>
              <ac:spMk id="5" creationId="{DEB0FBCB-A869-4CAE-8825-C4AF702FA324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1054914800" sldId="2147485476"/>
              <ac:spMk id="6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1054914800" sldId="2147485476"/>
              <ac:spMk id="7" creationId="{39F75347-F413-4844-8D83-E80CC33E9E0A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1054914800" sldId="2147485476"/>
              <ac:spMk id="324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1054914800" sldId="2147485476"/>
              <ac:spMk id="331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4236030168" sldId="2147485473"/>
            <pc:sldLayoutMk cId="2390014269" sldId="2147485477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390014269" sldId="2147485477"/>
              <ac:spMk id="3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390014269" sldId="2147485477"/>
              <ac:spMk id="4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4236030168" sldId="2147485473"/>
            <pc:sldLayoutMk cId="511043177" sldId="2147485478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11043177" sldId="2147485478"/>
              <ac:spMk id="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11043177" sldId="2147485478"/>
              <ac:spMk id="4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4236030168" sldId="2147485473"/>
            <pc:sldLayoutMk cId="3360800877" sldId="2147485479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3360800877" sldId="2147485479"/>
              <ac:spMk id="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3360800877" sldId="2147485479"/>
              <ac:spMk id="4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3360800877" sldId="2147485479"/>
              <ac:spMk id="6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3360800877" sldId="2147485479"/>
              <ac:spMk id="12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4236030168" sldId="2147485473"/>
            <pc:sldLayoutMk cId="852068353" sldId="2147485480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852068353" sldId="2147485480"/>
              <ac:spMk id="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852068353" sldId="2147485480"/>
              <ac:spMk id="4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852068353" sldId="2147485480"/>
              <ac:spMk id="6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852068353" sldId="2147485480"/>
              <ac:spMk id="7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852068353" sldId="2147485480"/>
              <ac:spMk id="8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4236030168" sldId="2147485473"/>
            <pc:sldLayoutMk cId="1093598170" sldId="2147485481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1093598170" sldId="2147485481"/>
              <ac:spMk id="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1093598170" sldId="2147485481"/>
              <ac:spMk id="4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4236030168" sldId="2147485473"/>
            <pc:sldLayoutMk cId="972359068" sldId="2147485482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972359068" sldId="2147485482"/>
              <ac:spMk id="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972359068" sldId="2147485482"/>
              <ac:spMk id="4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4236030168" sldId="2147485473"/>
            <pc:sldLayoutMk cId="640306923" sldId="2147485483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73" creationId="{5BFEFA31-B9C6-4568-B0C8-64632FA0DAF5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74" creationId="{8A81A185-1E4C-4AC8-BF2B-77C6E5DE8665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75" creationId="{6D64B74A-C5EA-4979-B7B8-7A9E6F1684B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76" creationId="{D13571BC-E645-465F-A286-1CD5AF98EB0A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77" creationId="{F8F7D73E-C852-4F61-8745-018FE346BF76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78" creationId="{03083A04-8FF9-4CE0-97C1-E0CD8017F006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79" creationId="{2FF406BE-DA23-461F-9B7D-4D45B480DBC4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80" creationId="{1D7A9035-6B98-49F4-A062-4C35EE32151F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81" creationId="{99F64C7C-A7FF-4303-898B-9BDF2A8B681F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82" creationId="{4D8CECC3-10E0-4B69-B5FC-D2FC02EFFC4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83" creationId="{A1685C3C-4DEA-4429-B033-36B7FE92E08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84" creationId="{77FC5C64-0DD9-4B2A-ABF2-A522609F911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85" creationId="{D3D080CD-8E75-4B8E-884A-32AB3A48C60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86" creationId="{CE9A6D95-CB39-4143-9036-C63743CD87A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87" creationId="{CC8F3F55-1CAF-4EFE-88C0-06DCDE473673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88" creationId="{4584A908-01FC-4932-9006-155BF5BAF468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89" creationId="{ACB354BF-ECF8-4F3A-814E-C29D34699827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90" creationId="{EEA806DA-DF24-4B3D-B26B-D9A57FBFEE67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91" creationId="{95D34BCF-741B-46EB-A0F3-3DC5A1F1953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92" creationId="{2753965E-146B-45D0-B8E5-BBF74F452294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93" creationId="{B242A472-F266-4C4C-BF69-7338CCCFED46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94" creationId="{FBCC16A7-2961-4DE5-BC90-3C9E8602B41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95" creationId="{4C8A5580-AFEE-417A-A853-490CC2B571DE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96" creationId="{ED0830FB-256C-46A3-BC49-466ACFAF3565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97" creationId="{33431B4B-1A77-4C94-BFEC-DDC54E826521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98" creationId="{CB8FFAA2-3DE7-4296-96A1-0BC2C301FCB1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99" creationId="{13F89176-268E-45EC-8951-7934E269005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00" creationId="{A1CAB820-8B52-405B-98C8-EFA9B48C3C33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01" creationId="{C40ED277-0E0F-4E8B-AAE9-655F9B96372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02" creationId="{C893446B-533B-4608-928E-63CE79226518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03" creationId="{402AA6B7-780F-4EA7-89ED-D0DE58F9449F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04" creationId="{82EF9DA2-A776-4D28-881A-18243BADD181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05" creationId="{DA207D8E-C082-43E3-80E5-4C5DA25CB30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06" creationId="{05CA4221-63B1-478C-9F93-1E7B4AB4EB17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07" creationId="{BD88FF35-D636-4E9B-B9DF-1A75BA49365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08" creationId="{2CEA3ADF-B15E-4ECF-B5C0-46F2F436726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09" creationId="{7CB50F23-B67A-43E6-83FE-8237A51634D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10" creationId="{EBCC7CB4-7B4A-4856-8CF9-FE498F15A99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11" creationId="{BC0D8EC9-402C-458F-9B3D-142AE4A5462E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12" creationId="{41D9D3F6-860D-4FB2-AD14-7DC20EA7C6A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13" creationId="{4825CE13-8785-4085-A37B-1D18B8BA2748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14" creationId="{3710C93C-C05D-42DC-A957-7C5DC980D46A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15" creationId="{5F993EA7-E2A3-4456-A2E5-B4837BDA5178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16" creationId="{74723A15-4FE7-4086-B308-767C163CD95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17" creationId="{0A4A6AFC-5CBA-4C34-9450-909706E848D8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18" creationId="{64A1271F-83F9-4E1A-B484-388153E8B2A4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19" creationId="{34F67DE2-D81A-442F-8284-478EE3AFB69F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20" creationId="{50BCEB9C-9ADE-4FB4-84D2-D43E3CA020D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21" creationId="{0C01A04C-46E3-4CA9-B136-3AD4C8526B34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22" creationId="{B8A5F8A8-B194-45B0-A9E8-70AE0481A9A6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23" creationId="{3BA78006-D01A-4B17-A59B-8F3C2DDDD03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24" creationId="{B5EDB39B-F85C-48BF-8518-92590913DB4A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25" creationId="{AEB793CE-F646-4BF6-9D40-7E63462D2D9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26" creationId="{E9311476-55AD-4B7F-B714-0A70788B19A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27" creationId="{DCA3F208-A0E6-4ED7-8927-D46B7558AD6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28" creationId="{8F556CCB-ED3C-426A-9751-06CB55FF5D64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29" creationId="{6C9DAFE8-FADA-4582-8642-15181C5AF01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30" creationId="{DA308D48-9CCF-454E-9A08-7E466A9386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7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71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7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73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74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75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76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77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78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7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8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81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8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83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84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85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86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87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88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8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9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91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9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93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94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95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96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97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98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9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0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01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0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03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04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05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06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07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08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0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1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11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1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13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14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15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16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17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18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1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2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21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2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23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24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25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26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27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28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2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3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31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3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33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34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35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36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37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38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3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324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4236030168" sldId="2147485473"/>
            <pc:sldLayoutMk cId="563043116" sldId="2147485484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63043116" sldId="2147485484"/>
              <ac:spMk id="3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63043116" sldId="2147485484"/>
              <ac:spMk id="4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4236030168" sldId="2147485473"/>
            <pc:sldLayoutMk cId="3698753849" sldId="2147485485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3698753849" sldId="2147485485"/>
              <ac:spMk id="3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3698753849" sldId="2147485485"/>
              <ac:spMk id="4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3698753849" sldId="2147485485"/>
              <ac:spMk id="5" creationId="{777C7912-EB96-401D-AF7F-DBB229E34E8F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4236030168" sldId="2147485473"/>
            <pc:sldLayoutMk cId="438850930" sldId="2147485486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438850930" sldId="2147485486"/>
              <ac:spMk id="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438850930" sldId="2147485486"/>
              <ac:spMk id="5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4236030168" sldId="2147485473"/>
            <pc:sldLayoutMk cId="2706606857" sldId="2147485487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706606857" sldId="2147485487"/>
              <ac:spMk id="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706606857" sldId="2147485487"/>
              <ac:spMk id="5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706606857" sldId="2147485487"/>
              <ac:spMk id="13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4236030168" sldId="2147485473"/>
            <pc:sldLayoutMk cId="3917981392" sldId="2147485488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3917981392" sldId="2147485488"/>
              <ac:spMk id="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3917981392" sldId="2147485488"/>
              <ac:spMk id="5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3917981392" sldId="2147485488"/>
              <ac:spMk id="8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3917981392" sldId="2147485488"/>
              <ac:spMk id="13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4236030168" sldId="2147485473"/>
            <pc:sldLayoutMk cId="519598226" sldId="2147485489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19598226" sldId="2147485489"/>
              <ac:spMk id="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19598226" sldId="2147485489"/>
              <ac:spMk id="8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19598226" sldId="2147485489"/>
              <ac:spMk id="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19598226" sldId="2147485489"/>
              <ac:spMk id="13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19598226" sldId="2147485489"/>
              <ac:spMk id="14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4236030168" sldId="2147485473"/>
            <pc:sldLayoutMk cId="2220625988" sldId="2147485490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4" creationId="{F5443646-2BBE-4CB4-85A5-01F5536D4E87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5" creationId="{5561750D-5EAB-4E8E-9BA7-56A2461A6ADF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6" creationId="{EBC536A5-1EE3-47EE-B7BA-E5DA1A9B963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7" creationId="{F29A461E-FA6E-4F77-8945-20C4A806A6E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8" creationId="{AA9EA68B-2152-4AFA-A56D-3EB7F452C34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9" creationId="{9EDA1A86-0E97-4168-AF3E-E519BA53ABF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10" creationId="{488C7E4F-160A-4C86-98D4-5E2EEA4404E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11" creationId="{95B663A3-EEEF-43FB-88D9-748202387491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12" creationId="{AD57A127-BA94-4872-9699-2CA53C14EE43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13" creationId="{216051F6-642C-4F85-91FA-54B0D8AB0661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14" creationId="{120D44E4-6057-400F-8955-CBFDD582E71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15" creationId="{7CADB504-84D3-4728-B8AA-138AE3B9299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16" creationId="{300D1B4F-C958-4F5A-AEDE-8B71992B942E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17" creationId="{D6AE6C6B-AACE-46C1-8147-521111FAF03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18" creationId="{0AEFC53D-DE6F-4432-9FA3-F435D9008EC8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19" creationId="{C43A71AD-6B72-4627-A98D-CBE7417AE26A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20" creationId="{B1EC7346-7D52-46E8-A2D7-AE11E76CC053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21" creationId="{ED4891B8-7A1A-4AD8-AAB4-034F6F9BB1E8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22" creationId="{DD8D646D-34CB-4989-8377-E18F3B1E7C8A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23" creationId="{3B383013-3EE0-456E-8944-D531EADF009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24" creationId="{B06DA6A3-DC4A-43D8-8701-7DD0840398C3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25" creationId="{004C03E0-D520-4C46-84A4-CEADD5106A93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26" creationId="{8949073E-47FA-47EC-B259-B057D426433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27" creationId="{C9EC1F35-2002-4149-A579-EF11C8394B07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28" creationId="{70DA9AFC-9F04-4B5F-8631-B8D87C1F1088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29" creationId="{0C191B0B-86A9-45FD-AF75-B5AAB4CB5E81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30" creationId="{36DF7B13-9987-4A53-875E-86CAE5E02878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31" creationId="{87EBB480-8ECE-45DA-A8C0-6A4609EDF45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32" creationId="{C0B904BD-FCF6-47EA-8199-6E59D396DFC6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33" creationId="{30C241D3-9CEE-4DF2-A6B1-14A1627FCF86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34" creationId="{F860D8A0-708A-405D-8B62-22C11FDD72E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35" creationId="{F8D86008-2931-4645-B707-FE51BEC385A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36" creationId="{62B0D70F-3E1F-4084-B861-CC826250E997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37" creationId="{1E562536-1620-4CC1-B39B-60AF40D7BB6F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38" creationId="{A7953C10-A400-4069-BCDB-90B6F310B40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39" creationId="{74316169-67AC-4346-80A0-45E5EF2F62D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40" creationId="{71F8F222-321F-41BE-8A3F-98C830F64D3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41" creationId="{4EA3C75F-7134-4B73-98F8-D138DEBD5F8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42" creationId="{3E4A7133-D396-4AD7-BD5C-42CF34176AF1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43" creationId="{765E1B6F-25B2-4203-83E6-C59805B9C5F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44" creationId="{E613D3A9-A47D-4AE8-8BA0-3D244922D68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45" creationId="{4D8743BF-5717-4B66-B985-3937A1A11D4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46" creationId="{FD653BE8-74C7-4793-AF42-5A9B4CB8F47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47" creationId="{1CB282A9-AB0A-4B0D-B679-D7DC6A9A156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48" creationId="{7FDD4138-258F-4B6C-B39B-CB29D3A27E6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49" creationId="{E406F2F8-1C26-4939-9DF4-93F303EACDC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50" creationId="{93349CA1-7328-48EE-8556-B292F531659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51" creationId="{243A2CDF-1A9E-44C1-9A8E-26933612B46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52" creationId="{9E2745E2-E57C-49B9-8A13-28C8DE111D7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53" creationId="{E86D7443-57D0-4BCD-AEC5-C3001C44DE7A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54" creationId="{DBA0137C-CF52-41B7-B16D-E6CEB45E87E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55" creationId="{7935FE64-4D56-4F5F-BCCD-B1CD4AEAF591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56" creationId="{221B4476-1E08-4644-9E70-282F88ED9A2F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57" creationId="{5CE4AD47-E95F-484C-8383-B20548A028D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58" creationId="{C1003F0D-BDEC-4549-8A4E-31B1900AA11A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59" creationId="{4A9A9D02-D19B-4622-ABE8-8DA40E854F1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60" creationId="{B57CA1B4-B092-4016-83B4-589BAE35619E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61" creationId="{EFA6E290-CA5B-424A-9E11-7A5992CD7557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33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332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4236030168" sldId="2147485473"/>
            <pc:sldLayoutMk cId="3828316098" sldId="2147485491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3828316098" sldId="2147485491"/>
              <ac:spMk id="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3828316098" sldId="2147485491"/>
              <ac:spMk id="6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4236030168" sldId="2147485473"/>
            <pc:sldLayoutMk cId="1255986698" sldId="2147485492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1255986698" sldId="2147485492"/>
              <ac:spMk id="6" creationId="{2DDCD659-8A1E-43D1-A303-AC7DA1BB421F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1255986698" sldId="2147485492"/>
              <ac:spMk id="7" creationId="{F578C439-90F1-4B6F-8D04-9B769F77E215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1255986698" sldId="2147485492"/>
              <ac:spMk id="8" creationId="{C5546F9E-B215-488B-83F5-D1F383644CC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1255986698" sldId="2147485492"/>
              <ac:spMk id="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1255986698" sldId="2147485492"/>
              <ac:spMk id="7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1255986698" sldId="2147485492"/>
              <ac:spMk id="33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1255986698" sldId="2147485492"/>
              <ac:spMk id="332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4236030168" sldId="2147485473"/>
            <pc:sldLayoutMk cId="877033691" sldId="2147485493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877033691" sldId="2147485493"/>
              <ac:spMk id="3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877033691" sldId="2147485493"/>
              <ac:spMk id="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877033691" sldId="2147485493"/>
              <ac:spMk id="15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4236030168" sldId="2147485473"/>
            <pc:sldLayoutMk cId="3620978242" sldId="2147485523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3620978242" sldId="2147485523"/>
              <ac:spMk id="6" creationId="{3AA1929D-CE20-47EC-8C98-5D6929AF4FC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3620978242" sldId="2147485523"/>
              <ac:spMk id="7" creationId="{9C126BA2-3BAB-4373-AE35-894C1318315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3620978242" sldId="2147485523"/>
              <ac:spMk id="6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3620978242" sldId="2147485523"/>
              <ac:spMk id="7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3620978242" sldId="2147485523"/>
              <ac:spMk id="33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3620978242" sldId="2147485523"/>
              <ac:spMk id="332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4236030168" sldId="2147485473"/>
            <pc:sldLayoutMk cId="2542283950" sldId="2147485524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542283950" sldId="2147485524"/>
              <ac:spMk id="6" creationId="{0CF1B245-662B-4CE9-8D7B-DDF0A1C3FEDF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542283950" sldId="2147485524"/>
              <ac:spMk id="7" creationId="{26C14DB2-16F3-445D-9D26-8EB45FE3D14F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542283950" sldId="2147485524"/>
              <ac:spMk id="8" creationId="{15D8C0E8-0E0C-42DA-A1A0-ED2E45DB1A7E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542283950" sldId="2147485524"/>
              <ac:spMk id="6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542283950" sldId="2147485524"/>
              <ac:spMk id="7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542283950" sldId="2147485524"/>
              <ac:spMk id="33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542283950" sldId="2147485524"/>
              <ac:spMk id="332" creationId="{00000000-0000-0000-0000-000000000000}"/>
            </ac:spMkLst>
          </pc:spChg>
        </pc:sldLayoutChg>
      </pc:sldMasterChg>
      <pc:sldMasterChg chg="modSp mod modSldLayout">
        <pc:chgData name="Revocatus Washington Paul" userId="S::catuspaul_gmail.com#ext#@worldbankgroup.onmicrosoft.com::b13f5400-0b53-417f-9ea3-8ee32bb124d8" providerId="AD" clId="Web-{899707FB-59FB-EE9F-45F1-202D31171D53}" dt="2022-03-09T07:10:35.787" v="45"/>
        <pc:sldMasterMkLst>
          <pc:docMk/>
          <pc:sldMasterMk cId="3915509286" sldId="2147485497"/>
        </pc:sldMaster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asterMk cId="3915509286" sldId="2147485497"/>
            <ac:spMk id="3" creationId="{00000000-0000-0000-0000-000000000000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asterMk cId="3915509286" sldId="2147485497"/>
            <ac:spMk id="5" creationId="{00000000-0000-0000-0000-000000000000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asterMk cId="3915509286" sldId="2147485497"/>
            <ac:spMk id="1027" creationId="{00000000-0000-0000-0000-000000000000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asterMk cId="3915509286" sldId="2147485497"/>
            <ac:spMk id="1032" creationId="{00000000-0000-0000-0000-000000000000}"/>
          </ac:spMkLst>
        </pc:sp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3915509286" sldId="2147485497"/>
            <pc:sldLayoutMk cId="501497102" sldId="2147485498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3915509286" sldId="2147485497"/>
              <pc:sldLayoutMk cId="501497102" sldId="2147485498"/>
              <ac:spMk id="6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3915509286" sldId="2147485497"/>
              <pc:sldLayoutMk cId="501497102" sldId="2147485498"/>
              <ac:spMk id="7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3915509286" sldId="2147485497"/>
              <pc:sldLayoutMk cId="501497102" sldId="2147485498"/>
              <ac:spMk id="8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3915509286" sldId="2147485497"/>
              <pc:sldLayoutMk cId="501497102" sldId="2147485498"/>
              <ac:spMk id="6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3915509286" sldId="2147485497"/>
              <pc:sldLayoutMk cId="501497102" sldId="2147485498"/>
              <ac:spMk id="7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3915509286" sldId="2147485497"/>
              <pc:sldLayoutMk cId="501497102" sldId="2147485498"/>
              <ac:spMk id="33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3915509286" sldId="2147485497"/>
              <pc:sldLayoutMk cId="501497102" sldId="2147485498"/>
              <ac:spMk id="332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3915509286" sldId="2147485497"/>
            <pc:sldLayoutMk cId="2137470043" sldId="2147485499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3915509286" sldId="2147485497"/>
              <pc:sldLayoutMk cId="2137470043" sldId="2147485499"/>
              <ac:spMk id="6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3915509286" sldId="2147485497"/>
              <pc:sldLayoutMk cId="2137470043" sldId="2147485499"/>
              <ac:spMk id="7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3915509286" sldId="2147485497"/>
              <pc:sldLayoutMk cId="2137470043" sldId="2147485499"/>
              <ac:spMk id="6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3915509286" sldId="2147485497"/>
              <pc:sldLayoutMk cId="2137470043" sldId="2147485499"/>
              <ac:spMk id="7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3915509286" sldId="2147485497"/>
              <pc:sldLayoutMk cId="2137470043" sldId="2147485499"/>
              <ac:spMk id="33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3915509286" sldId="2147485497"/>
              <pc:sldLayoutMk cId="2137470043" sldId="2147485499"/>
              <ac:spMk id="332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3915509286" sldId="2147485497"/>
            <pc:sldLayoutMk cId="1190218781" sldId="2147485500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3915509286" sldId="2147485497"/>
              <pc:sldLayoutMk cId="1190218781" sldId="2147485500"/>
              <ac:spMk id="6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3915509286" sldId="2147485497"/>
              <pc:sldLayoutMk cId="1190218781" sldId="2147485500"/>
              <ac:spMk id="7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3915509286" sldId="2147485497"/>
              <pc:sldLayoutMk cId="1190218781" sldId="2147485500"/>
              <ac:spMk id="8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3915509286" sldId="2147485497"/>
              <pc:sldLayoutMk cId="1190218781" sldId="2147485500"/>
              <ac:spMk id="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3915509286" sldId="2147485497"/>
              <pc:sldLayoutMk cId="1190218781" sldId="2147485500"/>
              <ac:spMk id="7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3915509286" sldId="2147485497"/>
              <pc:sldLayoutMk cId="1190218781" sldId="2147485500"/>
              <ac:spMk id="33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3915509286" sldId="2147485497"/>
              <pc:sldLayoutMk cId="1190218781" sldId="2147485500"/>
              <ac:spMk id="332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3915509286" sldId="2147485497"/>
            <pc:sldLayoutMk cId="1469744704" sldId="2147485502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3915509286" sldId="2147485497"/>
              <pc:sldLayoutMk cId="1469744704" sldId="2147485502"/>
              <ac:spMk id="2" creationId="{6DB31535-932A-4C86-AB61-6DE103765D27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3915509286" sldId="2147485497"/>
              <pc:sldLayoutMk cId="1469744704" sldId="2147485502"/>
              <ac:spMk id="3" creationId="{6329F0E9-D2AA-48D1-A5BD-8877D68A71C9}"/>
            </ac:spMkLst>
          </pc:spChg>
        </pc:sldLayoutChg>
      </pc:sldMasterChg>
    </pc:docChg>
  </pc:docChgLst>
  <pc:docChgLst>
    <pc:chgData name="Revocatus Washington Paul" userId="S::catuspaul_gmail.com#ext#@worldbankgroup.onmicrosoft.com::b13f5400-0b53-417f-9ea3-8ee32bb124d8" providerId="AD" clId="Web-{44B223A6-420D-8FF2-2B3D-FD91B3FCC96C}"/>
    <pc:docChg chg="delSld modSld">
      <pc:chgData name="Revocatus Washington Paul" userId="S::catuspaul_gmail.com#ext#@worldbankgroup.onmicrosoft.com::b13f5400-0b53-417f-9ea3-8ee32bb124d8" providerId="AD" clId="Web-{44B223A6-420D-8FF2-2B3D-FD91B3FCC96C}" dt="2022-03-07T06:00:20.113" v="6" actId="20577"/>
      <pc:docMkLst>
        <pc:docMk/>
      </pc:docMkLst>
      <pc:sldChg chg="modSp">
        <pc:chgData name="Revocatus Washington Paul" userId="S::catuspaul_gmail.com#ext#@worldbankgroup.onmicrosoft.com::b13f5400-0b53-417f-9ea3-8ee32bb124d8" providerId="AD" clId="Web-{44B223A6-420D-8FF2-2B3D-FD91B3FCC96C}" dt="2022-03-07T05:40:17.852" v="0" actId="20577"/>
        <pc:sldMkLst>
          <pc:docMk/>
          <pc:sldMk cId="553589282" sldId="261"/>
        </pc:sldMkLst>
        <pc:spChg chg="mod">
          <ac:chgData name="Revocatus Washington Paul" userId="S::catuspaul_gmail.com#ext#@worldbankgroup.onmicrosoft.com::b13f5400-0b53-417f-9ea3-8ee32bb124d8" providerId="AD" clId="Web-{44B223A6-420D-8FF2-2B3D-FD91B3FCC96C}" dt="2022-03-07T05:40:17.852" v="0" actId="20577"/>
          <ac:spMkLst>
            <pc:docMk/>
            <pc:sldMk cId="553589282" sldId="261"/>
            <ac:spMk id="2" creationId="{E01226A3-FD12-4BA7-ABF5-9D408688073E}"/>
          </ac:spMkLst>
        </pc:spChg>
      </pc:sldChg>
      <pc:sldChg chg="del">
        <pc:chgData name="Revocatus Washington Paul" userId="S::catuspaul_gmail.com#ext#@worldbankgroup.onmicrosoft.com::b13f5400-0b53-417f-9ea3-8ee32bb124d8" providerId="AD" clId="Web-{44B223A6-420D-8FF2-2B3D-FD91B3FCC96C}" dt="2022-03-07T05:47:58.862" v="1"/>
        <pc:sldMkLst>
          <pc:docMk/>
          <pc:sldMk cId="3176795038" sldId="360"/>
        </pc:sldMkLst>
      </pc:sldChg>
      <pc:sldChg chg="modSp">
        <pc:chgData name="Revocatus Washington Paul" userId="S::catuspaul_gmail.com#ext#@worldbankgroup.onmicrosoft.com::b13f5400-0b53-417f-9ea3-8ee32bb124d8" providerId="AD" clId="Web-{44B223A6-420D-8FF2-2B3D-FD91B3FCC96C}" dt="2022-03-07T06:00:20.113" v="6" actId="20577"/>
        <pc:sldMkLst>
          <pc:docMk/>
          <pc:sldMk cId="3425921230" sldId="361"/>
        </pc:sldMkLst>
        <pc:spChg chg="mod">
          <ac:chgData name="Revocatus Washington Paul" userId="S::catuspaul_gmail.com#ext#@worldbankgroup.onmicrosoft.com::b13f5400-0b53-417f-9ea3-8ee32bb124d8" providerId="AD" clId="Web-{44B223A6-420D-8FF2-2B3D-FD91B3FCC96C}" dt="2022-03-07T06:00:20.113" v="6" actId="20577"/>
          <ac:spMkLst>
            <pc:docMk/>
            <pc:sldMk cId="3425921230" sldId="361"/>
            <ac:spMk id="2" creationId="{6F428DEF-BC7B-45A2-BAA3-03E55AD44AF2}"/>
          </ac:spMkLst>
        </pc:spChg>
      </pc:sldChg>
    </pc:docChg>
  </pc:docChgLst>
  <pc:docChgLst>
    <pc:chgData name="Koichi Ito" userId="S::koichi19960406_gmail.com#ext#@worldbankgroup.onmicrosoft.com::f9ef8c51-761c-4d11-abde-96febf25f02b" providerId="AD" clId="Web-{86D7B360-6B5F-0921-39BB-B2D396EA8310}"/>
    <pc:docChg chg="addSld modSld">
      <pc:chgData name="Koichi Ito" userId="S::koichi19960406_gmail.com#ext#@worldbankgroup.onmicrosoft.com::f9ef8c51-761c-4d11-abde-96febf25f02b" providerId="AD" clId="Web-{86D7B360-6B5F-0921-39BB-B2D396EA8310}" dt="2022-02-03T13:44:19.120" v="29" actId="20577"/>
      <pc:docMkLst>
        <pc:docMk/>
      </pc:docMkLst>
      <pc:sldChg chg="modSp add replId">
        <pc:chgData name="Koichi Ito" userId="S::koichi19960406_gmail.com#ext#@worldbankgroup.onmicrosoft.com::f9ef8c51-761c-4d11-abde-96febf25f02b" providerId="AD" clId="Web-{86D7B360-6B5F-0921-39BB-B2D396EA8310}" dt="2022-02-03T13:44:19.120" v="29" actId="20577"/>
        <pc:sldMkLst>
          <pc:docMk/>
          <pc:sldMk cId="2023954067" sldId="309"/>
        </pc:sldMkLst>
        <pc:spChg chg="mod">
          <ac:chgData name="Koichi Ito" userId="S::koichi19960406_gmail.com#ext#@worldbankgroup.onmicrosoft.com::f9ef8c51-761c-4d11-abde-96febf25f02b" providerId="AD" clId="Web-{86D7B360-6B5F-0921-39BB-B2D396EA8310}" dt="2022-02-03T13:43:39.792" v="24" actId="20577"/>
          <ac:spMkLst>
            <pc:docMk/>
            <pc:sldMk cId="2023954067" sldId="309"/>
            <ac:spMk id="7" creationId="{726EACEF-83EB-C249-AEE0-7E735D27208C}"/>
          </ac:spMkLst>
        </pc:spChg>
        <pc:spChg chg="mod">
          <ac:chgData name="Koichi Ito" userId="S::koichi19960406_gmail.com#ext#@worldbankgroup.onmicrosoft.com::f9ef8c51-761c-4d11-abde-96febf25f02b" providerId="AD" clId="Web-{86D7B360-6B5F-0921-39BB-B2D396EA8310}" dt="2022-02-03T13:44:19.120" v="29" actId="20577"/>
          <ac:spMkLst>
            <pc:docMk/>
            <pc:sldMk cId="2023954067" sldId="309"/>
            <ac:spMk id="9" creationId="{11AE8FD6-28B8-E047-BDD4-CA697AEDA5F6}"/>
          </ac:spMkLst>
        </pc:spChg>
      </pc:sldChg>
    </pc:docChg>
  </pc:docChgLst>
  <pc:docChgLst>
    <pc:chgData name="Koichi Ito" userId="S::koichi19960406_gmail.com#ext#@worldbankgroup.onmicrosoft.com::f9ef8c51-761c-4d11-abde-96febf25f02b" providerId="AD" clId="Web-{26A754E3-6C0E-BD6E-F938-A2FA3555344F}"/>
    <pc:docChg chg="addSld delSld modSld">
      <pc:chgData name="Koichi Ito" userId="S::koichi19960406_gmail.com#ext#@worldbankgroup.onmicrosoft.com::f9ef8c51-761c-4d11-abde-96febf25f02b" providerId="AD" clId="Web-{26A754E3-6C0E-BD6E-F938-A2FA3555344F}" dt="2022-03-15T02:55:18.590" v="50" actId="20577"/>
      <pc:docMkLst>
        <pc:docMk/>
      </pc:docMkLst>
      <pc:sldChg chg="modSp">
        <pc:chgData name="Koichi Ito" userId="S::koichi19960406_gmail.com#ext#@worldbankgroup.onmicrosoft.com::f9ef8c51-761c-4d11-abde-96febf25f02b" providerId="AD" clId="Web-{26A754E3-6C0E-BD6E-F938-A2FA3555344F}" dt="2022-03-15T02:30:47.838" v="6" actId="20577"/>
        <pc:sldMkLst>
          <pc:docMk/>
          <pc:sldMk cId="363020870" sldId="258"/>
        </pc:sldMkLst>
        <pc:spChg chg="mod">
          <ac:chgData name="Koichi Ito" userId="S::koichi19960406_gmail.com#ext#@worldbankgroup.onmicrosoft.com::f9ef8c51-761c-4d11-abde-96febf25f02b" providerId="AD" clId="Web-{26A754E3-6C0E-BD6E-F938-A2FA3555344F}" dt="2022-03-15T02:30:47.838" v="6" actId="20577"/>
          <ac:spMkLst>
            <pc:docMk/>
            <pc:sldMk cId="363020870" sldId="258"/>
            <ac:spMk id="2" creationId="{E01226A3-FD12-4BA7-ABF5-9D408688073E}"/>
          </ac:spMkLst>
        </pc:spChg>
      </pc:sldChg>
      <pc:sldChg chg="modSp">
        <pc:chgData name="Koichi Ito" userId="S::koichi19960406_gmail.com#ext#@worldbankgroup.onmicrosoft.com::f9ef8c51-761c-4d11-abde-96febf25f02b" providerId="AD" clId="Web-{26A754E3-6C0E-BD6E-F938-A2FA3555344F}" dt="2022-03-15T02:30:34.025" v="2" actId="20577"/>
        <pc:sldMkLst>
          <pc:docMk/>
          <pc:sldMk cId="1901022434" sldId="267"/>
        </pc:sldMkLst>
        <pc:spChg chg="mod">
          <ac:chgData name="Koichi Ito" userId="S::koichi19960406_gmail.com#ext#@worldbankgroup.onmicrosoft.com::f9ef8c51-761c-4d11-abde-96febf25f02b" providerId="AD" clId="Web-{26A754E3-6C0E-BD6E-F938-A2FA3555344F}" dt="2022-03-15T02:30:34.025" v="2" actId="20577"/>
          <ac:spMkLst>
            <pc:docMk/>
            <pc:sldMk cId="1901022434" sldId="267"/>
            <ac:spMk id="2" creationId="{E01226A3-FD12-4BA7-ABF5-9D408688073E}"/>
          </ac:spMkLst>
        </pc:spChg>
      </pc:sldChg>
      <pc:sldChg chg="modSp">
        <pc:chgData name="Koichi Ito" userId="S::koichi19960406_gmail.com#ext#@worldbankgroup.onmicrosoft.com::f9ef8c51-761c-4d11-abde-96febf25f02b" providerId="AD" clId="Web-{26A754E3-6C0E-BD6E-F938-A2FA3555344F}" dt="2022-03-15T02:30:36.432" v="3" actId="20577"/>
        <pc:sldMkLst>
          <pc:docMk/>
          <pc:sldMk cId="467404387" sldId="282"/>
        </pc:sldMkLst>
        <pc:spChg chg="mod">
          <ac:chgData name="Koichi Ito" userId="S::koichi19960406_gmail.com#ext#@worldbankgroup.onmicrosoft.com::f9ef8c51-761c-4d11-abde-96febf25f02b" providerId="AD" clId="Web-{26A754E3-6C0E-BD6E-F938-A2FA3555344F}" dt="2022-03-15T02:30:36.432" v="3" actId="20577"/>
          <ac:spMkLst>
            <pc:docMk/>
            <pc:sldMk cId="467404387" sldId="282"/>
            <ac:spMk id="2" creationId="{E01226A3-FD12-4BA7-ABF5-9D408688073E}"/>
          </ac:spMkLst>
        </pc:spChg>
      </pc:sldChg>
      <pc:sldChg chg="modSp">
        <pc:chgData name="Koichi Ito" userId="S::koichi19960406_gmail.com#ext#@worldbankgroup.onmicrosoft.com::f9ef8c51-761c-4d11-abde-96febf25f02b" providerId="AD" clId="Web-{26A754E3-6C0E-BD6E-F938-A2FA3555344F}" dt="2022-03-15T02:30:40.604" v="4" actId="20577"/>
        <pc:sldMkLst>
          <pc:docMk/>
          <pc:sldMk cId="647443771" sldId="284"/>
        </pc:sldMkLst>
        <pc:spChg chg="mod">
          <ac:chgData name="Koichi Ito" userId="S::koichi19960406_gmail.com#ext#@worldbankgroup.onmicrosoft.com::f9ef8c51-761c-4d11-abde-96febf25f02b" providerId="AD" clId="Web-{26A754E3-6C0E-BD6E-F938-A2FA3555344F}" dt="2022-03-15T02:30:40.604" v="4" actId="20577"/>
          <ac:spMkLst>
            <pc:docMk/>
            <pc:sldMk cId="647443771" sldId="284"/>
            <ac:spMk id="2" creationId="{E01226A3-FD12-4BA7-ABF5-9D408688073E}"/>
          </ac:spMkLst>
        </pc:spChg>
      </pc:sldChg>
      <pc:sldChg chg="modSp">
        <pc:chgData name="Koichi Ito" userId="S::koichi19960406_gmail.com#ext#@worldbankgroup.onmicrosoft.com::f9ef8c51-761c-4d11-abde-96febf25f02b" providerId="AD" clId="Web-{26A754E3-6C0E-BD6E-F938-A2FA3555344F}" dt="2022-03-15T02:47:33.621" v="41" actId="1076"/>
        <pc:sldMkLst>
          <pc:docMk/>
          <pc:sldMk cId="3530554265" sldId="306"/>
        </pc:sldMkLst>
        <pc:spChg chg="mod">
          <ac:chgData name="Koichi Ito" userId="S::koichi19960406_gmail.com#ext#@worldbankgroup.onmicrosoft.com::f9ef8c51-761c-4d11-abde-96febf25f02b" providerId="AD" clId="Web-{26A754E3-6C0E-BD6E-F938-A2FA3555344F}" dt="2022-03-15T02:46:50.793" v="26" actId="20577"/>
          <ac:spMkLst>
            <pc:docMk/>
            <pc:sldMk cId="3530554265" sldId="306"/>
            <ac:spMk id="2" creationId="{0E35C533-CB0A-1A46-9517-CDACEABE50DD}"/>
          </ac:spMkLst>
        </pc:spChg>
        <pc:spChg chg="mod">
          <ac:chgData name="Koichi Ito" userId="S::koichi19960406_gmail.com#ext#@worldbankgroup.onmicrosoft.com::f9ef8c51-761c-4d11-abde-96febf25f02b" providerId="AD" clId="Web-{26A754E3-6C0E-BD6E-F938-A2FA3555344F}" dt="2022-03-15T02:47:33.621" v="41" actId="1076"/>
          <ac:spMkLst>
            <pc:docMk/>
            <pc:sldMk cId="3530554265" sldId="306"/>
            <ac:spMk id="8" creationId="{6F60B2D8-B5AB-FA4A-A396-D3121EA05CDC}"/>
          </ac:spMkLst>
        </pc:spChg>
      </pc:sldChg>
      <pc:sldChg chg="modSp">
        <pc:chgData name="Koichi Ito" userId="S::koichi19960406_gmail.com#ext#@worldbankgroup.onmicrosoft.com::f9ef8c51-761c-4d11-abde-96febf25f02b" providerId="AD" clId="Web-{26A754E3-6C0E-BD6E-F938-A2FA3555344F}" dt="2022-03-15T02:46:47.339" v="23" actId="20577"/>
        <pc:sldMkLst>
          <pc:docMk/>
          <pc:sldMk cId="2763826054" sldId="307"/>
        </pc:sldMkLst>
        <pc:spChg chg="mod">
          <ac:chgData name="Koichi Ito" userId="S::koichi19960406_gmail.com#ext#@worldbankgroup.onmicrosoft.com::f9ef8c51-761c-4d11-abde-96febf25f02b" providerId="AD" clId="Web-{26A754E3-6C0E-BD6E-F938-A2FA3555344F}" dt="2022-03-15T02:46:47.339" v="23" actId="20577"/>
          <ac:spMkLst>
            <pc:docMk/>
            <pc:sldMk cId="2763826054" sldId="307"/>
            <ac:spMk id="2" creationId="{18C0CF12-81D5-0D4F-A24F-3BAC5546F0A4}"/>
          </ac:spMkLst>
        </pc:spChg>
      </pc:sldChg>
      <pc:sldChg chg="modSp">
        <pc:chgData name="Koichi Ito" userId="S::koichi19960406_gmail.com#ext#@worldbankgroup.onmicrosoft.com::f9ef8c51-761c-4d11-abde-96febf25f02b" providerId="AD" clId="Web-{26A754E3-6C0E-BD6E-F938-A2FA3555344F}" dt="2022-03-15T02:46:57.105" v="30" actId="20577"/>
        <pc:sldMkLst>
          <pc:docMk/>
          <pc:sldMk cId="3233704736" sldId="308"/>
        </pc:sldMkLst>
        <pc:spChg chg="mod">
          <ac:chgData name="Koichi Ito" userId="S::koichi19960406_gmail.com#ext#@worldbankgroup.onmicrosoft.com::f9ef8c51-761c-4d11-abde-96febf25f02b" providerId="AD" clId="Web-{26A754E3-6C0E-BD6E-F938-A2FA3555344F}" dt="2022-03-15T02:46:57.105" v="30" actId="20577"/>
          <ac:spMkLst>
            <pc:docMk/>
            <pc:sldMk cId="3233704736" sldId="308"/>
            <ac:spMk id="2" creationId="{18C0CF12-81D5-0D4F-A24F-3BAC5546F0A4}"/>
          </ac:spMkLst>
        </pc:spChg>
      </pc:sldChg>
      <pc:sldChg chg="modSp">
        <pc:chgData name="Koichi Ito" userId="S::koichi19960406_gmail.com#ext#@worldbankgroup.onmicrosoft.com::f9ef8c51-761c-4d11-abde-96febf25f02b" providerId="AD" clId="Web-{26A754E3-6C0E-BD6E-F938-A2FA3555344F}" dt="2022-03-15T02:55:18.590" v="50" actId="20577"/>
        <pc:sldMkLst>
          <pc:docMk/>
          <pc:sldMk cId="2023954067" sldId="309"/>
        </pc:sldMkLst>
        <pc:spChg chg="mod">
          <ac:chgData name="Koichi Ito" userId="S::koichi19960406_gmail.com#ext#@worldbankgroup.onmicrosoft.com::f9ef8c51-761c-4d11-abde-96febf25f02b" providerId="AD" clId="Web-{26A754E3-6C0E-BD6E-F938-A2FA3555344F}" dt="2022-03-15T02:47:01.246" v="32" actId="20577"/>
          <ac:spMkLst>
            <pc:docMk/>
            <pc:sldMk cId="2023954067" sldId="309"/>
            <ac:spMk id="2" creationId="{18C0CF12-81D5-0D4F-A24F-3BAC5546F0A4}"/>
          </ac:spMkLst>
        </pc:spChg>
        <pc:spChg chg="mod">
          <ac:chgData name="Koichi Ito" userId="S::koichi19960406_gmail.com#ext#@worldbankgroup.onmicrosoft.com::f9ef8c51-761c-4d11-abde-96febf25f02b" providerId="AD" clId="Web-{26A754E3-6C0E-BD6E-F938-A2FA3555344F}" dt="2022-03-15T02:51:26.684" v="48" actId="20577"/>
          <ac:spMkLst>
            <pc:docMk/>
            <pc:sldMk cId="2023954067" sldId="309"/>
            <ac:spMk id="10" creationId="{C8182ED3-6F7C-E745-8DE3-556B6469DAB5}"/>
          </ac:spMkLst>
        </pc:spChg>
        <pc:spChg chg="mod">
          <ac:chgData name="Koichi Ito" userId="S::koichi19960406_gmail.com#ext#@worldbankgroup.onmicrosoft.com::f9ef8c51-761c-4d11-abde-96febf25f02b" providerId="AD" clId="Web-{26A754E3-6C0E-BD6E-F938-A2FA3555344F}" dt="2022-03-15T02:55:18.590" v="50" actId="20577"/>
          <ac:spMkLst>
            <pc:docMk/>
            <pc:sldMk cId="2023954067" sldId="309"/>
            <ac:spMk id="11" creationId="{E50EADCA-CE8B-D24B-A647-60C021402BD5}"/>
          </ac:spMkLst>
        </pc:spChg>
      </pc:sldChg>
      <pc:sldChg chg="modSp">
        <pc:chgData name="Koichi Ito" userId="S::koichi19960406_gmail.com#ext#@worldbankgroup.onmicrosoft.com::f9ef8c51-761c-4d11-abde-96febf25f02b" providerId="AD" clId="Web-{26A754E3-6C0E-BD6E-F938-A2FA3555344F}" dt="2022-03-15T02:46:53.543" v="28" actId="20577"/>
        <pc:sldMkLst>
          <pc:docMk/>
          <pc:sldMk cId="3140862157" sldId="311"/>
        </pc:sldMkLst>
        <pc:spChg chg="mod">
          <ac:chgData name="Koichi Ito" userId="S::koichi19960406_gmail.com#ext#@worldbankgroup.onmicrosoft.com::f9ef8c51-761c-4d11-abde-96febf25f02b" providerId="AD" clId="Web-{26A754E3-6C0E-BD6E-F938-A2FA3555344F}" dt="2022-03-15T02:46:53.543" v="28" actId="20577"/>
          <ac:spMkLst>
            <pc:docMk/>
            <pc:sldMk cId="3140862157" sldId="311"/>
            <ac:spMk id="2" creationId="{4EF2E5EE-3E6D-E043-82F8-0E98C0C5F99C}"/>
          </ac:spMkLst>
        </pc:spChg>
      </pc:sldChg>
      <pc:sldChg chg="modSp">
        <pc:chgData name="Koichi Ito" userId="S::koichi19960406_gmail.com#ext#@worldbankgroup.onmicrosoft.com::f9ef8c51-761c-4d11-abde-96febf25f02b" providerId="AD" clId="Web-{26A754E3-6C0E-BD6E-F938-A2FA3555344F}" dt="2022-03-15T02:47:04.902" v="34" actId="20577"/>
        <pc:sldMkLst>
          <pc:docMk/>
          <pc:sldMk cId="386681203" sldId="312"/>
        </pc:sldMkLst>
        <pc:spChg chg="mod">
          <ac:chgData name="Koichi Ito" userId="S::koichi19960406_gmail.com#ext#@worldbankgroup.onmicrosoft.com::f9ef8c51-761c-4d11-abde-96febf25f02b" providerId="AD" clId="Web-{26A754E3-6C0E-BD6E-F938-A2FA3555344F}" dt="2022-03-15T02:47:04.902" v="34" actId="20577"/>
          <ac:spMkLst>
            <pc:docMk/>
            <pc:sldMk cId="386681203" sldId="312"/>
            <ac:spMk id="2" creationId="{4EF2E5EE-3E6D-E043-82F8-0E98C0C5F99C}"/>
          </ac:spMkLst>
        </pc:spChg>
      </pc:sldChg>
      <pc:sldChg chg="addSp modSp">
        <pc:chgData name="Koichi Ito" userId="S::koichi19960406_gmail.com#ext#@worldbankgroup.onmicrosoft.com::f9ef8c51-761c-4d11-abde-96febf25f02b" providerId="AD" clId="Web-{26A754E3-6C0E-BD6E-F938-A2FA3555344F}" dt="2022-03-15T02:51:07.340" v="42"/>
        <pc:sldMkLst>
          <pc:docMk/>
          <pc:sldMk cId="2440085736" sldId="313"/>
        </pc:sldMkLst>
        <pc:spChg chg="mod">
          <ac:chgData name="Koichi Ito" userId="S::koichi19960406_gmail.com#ext#@worldbankgroup.onmicrosoft.com::f9ef8c51-761c-4d11-abde-96febf25f02b" providerId="AD" clId="Web-{26A754E3-6C0E-BD6E-F938-A2FA3555344F}" dt="2022-03-15T02:47:08.839" v="37" actId="20577"/>
          <ac:spMkLst>
            <pc:docMk/>
            <pc:sldMk cId="2440085736" sldId="313"/>
            <ac:spMk id="2" creationId="{18C0CF12-81D5-0D4F-A24F-3BAC5546F0A4}"/>
          </ac:spMkLst>
        </pc:spChg>
        <pc:cxnChg chg="add">
          <ac:chgData name="Koichi Ito" userId="S::koichi19960406_gmail.com#ext#@worldbankgroup.onmicrosoft.com::f9ef8c51-761c-4d11-abde-96febf25f02b" providerId="AD" clId="Web-{26A754E3-6C0E-BD6E-F938-A2FA3555344F}" dt="2022-03-15T02:51:07.340" v="42"/>
          <ac:cxnSpMkLst>
            <pc:docMk/>
            <pc:sldMk cId="2440085736" sldId="313"/>
            <ac:cxnSpMk id="3" creationId="{6620D635-D8FD-49DE-BA3B-5E37B479651C}"/>
          </ac:cxnSpMkLst>
        </pc:cxnChg>
      </pc:sldChg>
      <pc:sldChg chg="modSp">
        <pc:chgData name="Koichi Ito" userId="S::koichi19960406_gmail.com#ext#@worldbankgroup.onmicrosoft.com::f9ef8c51-761c-4d11-abde-96febf25f02b" providerId="AD" clId="Web-{26A754E3-6C0E-BD6E-F938-A2FA3555344F}" dt="2022-03-15T02:47:11.621" v="40" actId="20577"/>
        <pc:sldMkLst>
          <pc:docMk/>
          <pc:sldMk cId="2561012292" sldId="314"/>
        </pc:sldMkLst>
        <pc:spChg chg="mod">
          <ac:chgData name="Koichi Ito" userId="S::koichi19960406_gmail.com#ext#@worldbankgroup.onmicrosoft.com::f9ef8c51-761c-4d11-abde-96febf25f02b" providerId="AD" clId="Web-{26A754E3-6C0E-BD6E-F938-A2FA3555344F}" dt="2022-03-15T02:47:11.621" v="40" actId="20577"/>
          <ac:spMkLst>
            <pc:docMk/>
            <pc:sldMk cId="2561012292" sldId="314"/>
            <ac:spMk id="2" creationId="{18C0CF12-81D5-0D4F-A24F-3BAC5546F0A4}"/>
          </ac:spMkLst>
        </pc:spChg>
      </pc:sldChg>
      <pc:sldChg chg="add del replId">
        <pc:chgData name="Koichi Ito" userId="S::koichi19960406_gmail.com#ext#@worldbankgroup.onmicrosoft.com::f9ef8c51-761c-4d11-abde-96febf25f02b" providerId="AD" clId="Web-{26A754E3-6C0E-BD6E-F938-A2FA3555344F}" dt="2022-03-15T02:46:10.980" v="8"/>
        <pc:sldMkLst>
          <pc:docMk/>
          <pc:sldMk cId="1300598863" sldId="367"/>
        </pc:sldMkLst>
      </pc:sldChg>
      <pc:sldChg chg="modSp add">
        <pc:chgData name="Koichi Ito" userId="S::koichi19960406_gmail.com#ext#@worldbankgroup.onmicrosoft.com::f9ef8c51-761c-4d11-abde-96febf25f02b" providerId="AD" clId="Web-{26A754E3-6C0E-BD6E-F938-A2FA3555344F}" dt="2022-03-15T02:46:34.449" v="20" actId="20577"/>
        <pc:sldMkLst>
          <pc:docMk/>
          <pc:sldMk cId="2209748277" sldId="367"/>
        </pc:sldMkLst>
        <pc:spChg chg="mod">
          <ac:chgData name="Koichi Ito" userId="S::koichi19960406_gmail.com#ext#@worldbankgroup.onmicrosoft.com::f9ef8c51-761c-4d11-abde-96febf25f02b" providerId="AD" clId="Web-{26A754E3-6C0E-BD6E-F938-A2FA3555344F}" dt="2022-03-15T02:46:34.449" v="20" actId="20577"/>
          <ac:spMkLst>
            <pc:docMk/>
            <pc:sldMk cId="2209748277" sldId="367"/>
            <ac:spMk id="2" creationId="{E01226A3-FD12-4BA7-ABF5-9D408688073E}"/>
          </ac:spMkLst>
        </pc:spChg>
      </pc:sldChg>
    </pc:docChg>
  </pc:docChgLst>
  <pc:docChgLst>
    <pc:chgData name="Revocatus Washington Paul" userId="S::catuspaul_gmail.com#ext#@worldbankgroup.onmicrosoft.com::b13f5400-0b53-417f-9ea3-8ee32bb124d8" providerId="AD" clId="Web-{80358206-4865-14AD-67C4-C06D1028BACA}"/>
    <pc:docChg chg="modSld">
      <pc:chgData name="Revocatus Washington Paul" userId="S::catuspaul_gmail.com#ext#@worldbankgroup.onmicrosoft.com::b13f5400-0b53-417f-9ea3-8ee32bb124d8" providerId="AD" clId="Web-{80358206-4865-14AD-67C4-C06D1028BACA}" dt="2022-03-09T11:55:24.334" v="5" actId="1076"/>
      <pc:docMkLst>
        <pc:docMk/>
      </pc:docMkLst>
      <pc:sldChg chg="modSp">
        <pc:chgData name="Revocatus Washington Paul" userId="S::catuspaul_gmail.com#ext#@worldbankgroup.onmicrosoft.com::b13f5400-0b53-417f-9ea3-8ee32bb124d8" providerId="AD" clId="Web-{80358206-4865-14AD-67C4-C06D1028BACA}" dt="2022-03-09T11:55:24.334" v="5" actId="1076"/>
        <pc:sldMkLst>
          <pc:docMk/>
          <pc:sldMk cId="3961101582" sldId="260"/>
        </pc:sldMkLst>
        <pc:spChg chg="mod">
          <ac:chgData name="Revocatus Washington Paul" userId="S::catuspaul_gmail.com#ext#@worldbankgroup.onmicrosoft.com::b13f5400-0b53-417f-9ea3-8ee32bb124d8" providerId="AD" clId="Web-{80358206-4865-14AD-67C4-C06D1028BACA}" dt="2022-03-09T11:55:24.334" v="5" actId="1076"/>
          <ac:spMkLst>
            <pc:docMk/>
            <pc:sldMk cId="3961101582" sldId="260"/>
            <ac:spMk id="9" creationId="{F532BA4A-A990-489E-B307-A9F9E61EDCED}"/>
          </ac:spMkLst>
        </pc:spChg>
        <pc:picChg chg="mod">
          <ac:chgData name="Revocatus Washington Paul" userId="S::catuspaul_gmail.com#ext#@worldbankgroup.onmicrosoft.com::b13f5400-0b53-417f-9ea3-8ee32bb124d8" providerId="AD" clId="Web-{80358206-4865-14AD-67C4-C06D1028BACA}" dt="2022-03-09T11:55:09.364" v="3" actId="1076"/>
          <ac:picMkLst>
            <pc:docMk/>
            <pc:sldMk cId="3961101582" sldId="260"/>
            <ac:picMk id="6" creationId="{E244F4A8-6704-9243-9EA5-78D02CA81C60}"/>
          </ac:picMkLst>
        </pc:picChg>
        <pc:picChg chg="mod">
          <ac:chgData name="Revocatus Washington Paul" userId="S::catuspaul_gmail.com#ext#@worldbankgroup.onmicrosoft.com::b13f5400-0b53-417f-9ea3-8ee32bb124d8" providerId="AD" clId="Web-{80358206-4865-14AD-67C4-C06D1028BACA}" dt="2022-03-09T11:54:56.130" v="0" actId="1076"/>
          <ac:picMkLst>
            <pc:docMk/>
            <pc:sldMk cId="3961101582" sldId="260"/>
            <ac:picMk id="10" creationId="{D799CEE0-DD76-974F-A1ED-5A4BDF30E987}"/>
          </ac:picMkLst>
        </pc:picChg>
        <pc:picChg chg="mod">
          <ac:chgData name="Revocatus Washington Paul" userId="S::catuspaul_gmail.com#ext#@worldbankgroup.onmicrosoft.com::b13f5400-0b53-417f-9ea3-8ee32bb124d8" providerId="AD" clId="Web-{80358206-4865-14AD-67C4-C06D1028BACA}" dt="2022-03-09T11:55:06.942" v="2" actId="1076"/>
          <ac:picMkLst>
            <pc:docMk/>
            <pc:sldMk cId="3961101582" sldId="260"/>
            <ac:picMk id="14" creationId="{6288863C-56FC-42BE-8808-E015F6AD1103}"/>
          </ac:picMkLst>
        </pc:picChg>
        <pc:picChg chg="mod">
          <ac:chgData name="Revocatus Washington Paul" userId="S::catuspaul_gmail.com#ext#@worldbankgroup.onmicrosoft.com::b13f5400-0b53-417f-9ea3-8ee32bb124d8" providerId="AD" clId="Web-{80358206-4865-14AD-67C4-C06D1028BACA}" dt="2022-03-09T11:55:00.333" v="1" actId="1076"/>
          <ac:picMkLst>
            <pc:docMk/>
            <pc:sldMk cId="3961101582" sldId="260"/>
            <ac:picMk id="15" creationId="{3266C12F-7B37-BA43-8F50-A6CD031FA368}"/>
          </ac:picMkLst>
        </pc:picChg>
      </pc:sldChg>
    </pc:docChg>
  </pc:docChgLst>
  <pc:docChgLst>
    <pc:chgData name="Takaaki Masaki" userId="S::tmasaki@worldbank.org::56a88eee-ec65-40f9-8642-be59fd24ba9b" providerId="AD" clId="Web-{C454709B-1875-DB4A-261D-98AFE6D7F35B}"/>
    <pc:docChg chg="modSld">
      <pc:chgData name="Takaaki Masaki" userId="S::tmasaki@worldbank.org::56a88eee-ec65-40f9-8642-be59fd24ba9b" providerId="AD" clId="Web-{C454709B-1875-DB4A-261D-98AFE6D7F35B}" dt="2022-03-16T07:23:00.423" v="16" actId="1076"/>
      <pc:docMkLst>
        <pc:docMk/>
      </pc:docMkLst>
      <pc:sldChg chg="modSp">
        <pc:chgData name="Takaaki Masaki" userId="S::tmasaki@worldbank.org::56a88eee-ec65-40f9-8642-be59fd24ba9b" providerId="AD" clId="Web-{C454709B-1875-DB4A-261D-98AFE6D7F35B}" dt="2022-03-16T07:20:55.892" v="5" actId="20577"/>
        <pc:sldMkLst>
          <pc:docMk/>
          <pc:sldMk cId="2382116385" sldId="326"/>
        </pc:sldMkLst>
        <pc:spChg chg="mod">
          <ac:chgData name="Takaaki Masaki" userId="S::tmasaki@worldbank.org::56a88eee-ec65-40f9-8642-be59fd24ba9b" providerId="AD" clId="Web-{C454709B-1875-DB4A-261D-98AFE6D7F35B}" dt="2022-03-16T07:20:55.892" v="5" actId="20577"/>
          <ac:spMkLst>
            <pc:docMk/>
            <pc:sldMk cId="2382116385" sldId="326"/>
            <ac:spMk id="2" creationId="{E01226A3-FD12-4BA7-ABF5-9D408688073E}"/>
          </ac:spMkLst>
        </pc:spChg>
      </pc:sldChg>
      <pc:sldChg chg="modSp">
        <pc:chgData name="Takaaki Masaki" userId="S::tmasaki@worldbank.org::56a88eee-ec65-40f9-8642-be59fd24ba9b" providerId="AD" clId="Web-{C454709B-1875-DB4A-261D-98AFE6D7F35B}" dt="2022-03-16T07:21:28.861" v="11" actId="1076"/>
        <pc:sldMkLst>
          <pc:docMk/>
          <pc:sldMk cId="4043904794" sldId="366"/>
        </pc:sldMkLst>
        <pc:spChg chg="mod">
          <ac:chgData name="Takaaki Masaki" userId="S::tmasaki@worldbank.org::56a88eee-ec65-40f9-8642-be59fd24ba9b" providerId="AD" clId="Web-{C454709B-1875-DB4A-261D-98AFE6D7F35B}" dt="2022-03-16T07:21:28.861" v="11" actId="1076"/>
          <ac:spMkLst>
            <pc:docMk/>
            <pc:sldMk cId="4043904794" sldId="366"/>
            <ac:spMk id="2" creationId="{E01226A3-FD12-4BA7-ABF5-9D408688073E}"/>
          </ac:spMkLst>
        </pc:spChg>
      </pc:sldChg>
      <pc:sldChg chg="modSp">
        <pc:chgData name="Takaaki Masaki" userId="S::tmasaki@worldbank.org::56a88eee-ec65-40f9-8642-be59fd24ba9b" providerId="AD" clId="Web-{C454709B-1875-DB4A-261D-98AFE6D7F35B}" dt="2022-03-16T07:23:00.423" v="16" actId="1076"/>
        <pc:sldMkLst>
          <pc:docMk/>
          <pc:sldMk cId="1632203755" sldId="368"/>
        </pc:sldMkLst>
        <pc:spChg chg="mod">
          <ac:chgData name="Takaaki Masaki" userId="S::tmasaki@worldbank.org::56a88eee-ec65-40f9-8642-be59fd24ba9b" providerId="AD" clId="Web-{C454709B-1875-DB4A-261D-98AFE6D7F35B}" dt="2022-03-16T07:23:00.423" v="16" actId="1076"/>
          <ac:spMkLst>
            <pc:docMk/>
            <pc:sldMk cId="1632203755" sldId="368"/>
            <ac:spMk id="2" creationId="{E01226A3-FD12-4BA7-ABF5-9D408688073E}"/>
          </ac:spMkLst>
        </pc:spChg>
      </pc:sldChg>
    </pc:docChg>
  </pc:docChgLst>
  <pc:docChgLst>
    <pc:chgData name="Koichi Ito" userId="S::koichi19960406_gmail.com#ext#@worldbankgroup.onmicrosoft.com::f9ef8c51-761c-4d11-abde-96febf25f02b" providerId="AD" clId="Web-{FE9D2749-58DA-F478-FEE1-F4A2E926C9C8}"/>
    <pc:docChg chg="addSld delSld modSld sldOrd">
      <pc:chgData name="Koichi Ito" userId="S::koichi19960406_gmail.com#ext#@worldbankgroup.onmicrosoft.com::f9ef8c51-761c-4d11-abde-96febf25f02b" providerId="AD" clId="Web-{FE9D2749-58DA-F478-FEE1-F4A2E926C9C8}" dt="2022-01-24T04:16:31.617" v="369" actId="20577"/>
      <pc:docMkLst>
        <pc:docMk/>
      </pc:docMkLst>
      <pc:sldChg chg="modSp new">
        <pc:chgData name="Koichi Ito" userId="S::koichi19960406_gmail.com#ext#@worldbankgroup.onmicrosoft.com::f9ef8c51-761c-4d11-abde-96febf25f02b" providerId="AD" clId="Web-{FE9D2749-58DA-F478-FEE1-F4A2E926C9C8}" dt="2022-01-24T03:54:24.255" v="43" actId="20577"/>
        <pc:sldMkLst>
          <pc:docMk/>
          <pc:sldMk cId="2539712035" sldId="256"/>
        </pc:sldMkLst>
        <pc:spChg chg="mod">
          <ac:chgData name="Koichi Ito" userId="S::koichi19960406_gmail.com#ext#@worldbankgroup.onmicrosoft.com::f9ef8c51-761c-4d11-abde-96febf25f02b" providerId="AD" clId="Web-{FE9D2749-58DA-F478-FEE1-F4A2E926C9C8}" dt="2022-01-24T03:54:24.255" v="43" actId="20577"/>
          <ac:spMkLst>
            <pc:docMk/>
            <pc:sldMk cId="2539712035" sldId="256"/>
            <ac:spMk id="2" creationId="{500B4985-5844-4EB1-9DE5-6177B9061EB1}"/>
          </ac:spMkLst>
        </pc:spChg>
        <pc:spChg chg="mod">
          <ac:chgData name="Koichi Ito" userId="S::koichi19960406_gmail.com#ext#@worldbankgroup.onmicrosoft.com::f9ef8c51-761c-4d11-abde-96febf25f02b" providerId="AD" clId="Web-{FE9D2749-58DA-F478-FEE1-F4A2E926C9C8}" dt="2022-01-24T03:54:16.989" v="41" actId="20577"/>
          <ac:spMkLst>
            <pc:docMk/>
            <pc:sldMk cId="2539712035" sldId="256"/>
            <ac:spMk id="3" creationId="{9BD1DEA5-3A2E-4FD9-9036-60D3104EA00D}"/>
          </ac:spMkLst>
        </pc:spChg>
      </pc:sldChg>
      <pc:sldChg chg="modSp new">
        <pc:chgData name="Koichi Ito" userId="S::koichi19960406_gmail.com#ext#@worldbankgroup.onmicrosoft.com::f9ef8c51-761c-4d11-abde-96febf25f02b" providerId="AD" clId="Web-{FE9D2749-58DA-F478-FEE1-F4A2E926C9C8}" dt="2022-01-24T03:56:12.208" v="60" actId="20577"/>
        <pc:sldMkLst>
          <pc:docMk/>
          <pc:sldMk cId="3352592262" sldId="257"/>
        </pc:sldMkLst>
        <pc:spChg chg="mod">
          <ac:chgData name="Koichi Ito" userId="S::koichi19960406_gmail.com#ext#@worldbankgroup.onmicrosoft.com::f9ef8c51-761c-4d11-abde-96febf25f02b" providerId="AD" clId="Web-{FE9D2749-58DA-F478-FEE1-F4A2E926C9C8}" dt="2022-01-24T03:53:45.770" v="35" actId="20577"/>
          <ac:spMkLst>
            <pc:docMk/>
            <pc:sldMk cId="3352592262" sldId="257"/>
            <ac:spMk id="2" creationId="{90D0FF2E-2620-4EB1-A986-02CA3AA912A8}"/>
          </ac:spMkLst>
        </pc:spChg>
        <pc:spChg chg="mod">
          <ac:chgData name="Koichi Ito" userId="S::koichi19960406_gmail.com#ext#@worldbankgroup.onmicrosoft.com::f9ef8c51-761c-4d11-abde-96febf25f02b" providerId="AD" clId="Web-{FE9D2749-58DA-F478-FEE1-F4A2E926C9C8}" dt="2022-01-24T03:56:12.208" v="60" actId="20577"/>
          <ac:spMkLst>
            <pc:docMk/>
            <pc:sldMk cId="3352592262" sldId="257"/>
            <ac:spMk id="3" creationId="{B894210C-9002-4DA4-9DD8-4CF05F405920}"/>
          </ac:spMkLst>
        </pc:spChg>
      </pc:sldChg>
      <pc:sldChg chg="modSp new add del">
        <pc:chgData name="Koichi Ito" userId="S::koichi19960406_gmail.com#ext#@worldbankgroup.onmicrosoft.com::f9ef8c51-761c-4d11-abde-96febf25f02b" providerId="AD" clId="Web-{FE9D2749-58DA-F478-FEE1-F4A2E926C9C8}" dt="2022-01-24T04:11:49.210" v="324"/>
        <pc:sldMkLst>
          <pc:docMk/>
          <pc:sldMk cId="363020870" sldId="258"/>
        </pc:sldMkLst>
        <pc:spChg chg="mod">
          <ac:chgData name="Koichi Ito" userId="S::koichi19960406_gmail.com#ext#@worldbankgroup.onmicrosoft.com::f9ef8c51-761c-4d11-abde-96febf25f02b" providerId="AD" clId="Web-{FE9D2749-58DA-F478-FEE1-F4A2E926C9C8}" dt="2022-01-24T04:08:53.350" v="298" actId="20577"/>
          <ac:spMkLst>
            <pc:docMk/>
            <pc:sldMk cId="363020870" sldId="258"/>
            <ac:spMk id="2" creationId="{E01226A3-FD12-4BA7-ABF5-9D408688073E}"/>
          </ac:spMkLst>
        </pc:spChg>
      </pc:sldChg>
      <pc:sldChg chg="addSp delSp modSp new">
        <pc:chgData name="Koichi Ito" userId="S::koichi19960406_gmail.com#ext#@worldbankgroup.onmicrosoft.com::f9ef8c51-761c-4d11-abde-96febf25f02b" providerId="AD" clId="Web-{FE9D2749-58DA-F478-FEE1-F4A2E926C9C8}" dt="2022-01-24T04:09:00.460" v="299" actId="20577"/>
        <pc:sldMkLst>
          <pc:docMk/>
          <pc:sldMk cId="34186525" sldId="259"/>
        </pc:sldMkLst>
        <pc:spChg chg="mod">
          <ac:chgData name="Koichi Ito" userId="S::koichi19960406_gmail.com#ext#@worldbankgroup.onmicrosoft.com::f9ef8c51-761c-4d11-abde-96febf25f02b" providerId="AD" clId="Web-{FE9D2749-58DA-F478-FEE1-F4A2E926C9C8}" dt="2022-01-24T04:09:00.460" v="299" actId="20577"/>
          <ac:spMkLst>
            <pc:docMk/>
            <pc:sldMk cId="34186525" sldId="259"/>
            <ac:spMk id="2" creationId="{09CD81EE-B286-4472-B6C7-555E5DCEFABA}"/>
          </ac:spMkLst>
        </pc:spChg>
        <pc:spChg chg="del">
          <ac:chgData name="Koichi Ito" userId="S::koichi19960406_gmail.com#ext#@worldbankgroup.onmicrosoft.com::f9ef8c51-761c-4d11-abde-96febf25f02b" providerId="AD" clId="Web-{FE9D2749-58DA-F478-FEE1-F4A2E926C9C8}" dt="2022-01-24T04:02:47.428" v="141"/>
          <ac:spMkLst>
            <pc:docMk/>
            <pc:sldMk cId="34186525" sldId="259"/>
            <ac:spMk id="3" creationId="{C0D19C57-9536-4636-A60B-4384ACD86707}"/>
          </ac:spMkLst>
        </pc:spChg>
        <pc:spChg chg="del">
          <ac:chgData name="Koichi Ito" userId="S::koichi19960406_gmail.com#ext#@worldbankgroup.onmicrosoft.com::f9ef8c51-761c-4d11-abde-96febf25f02b" providerId="AD" clId="Web-{FE9D2749-58DA-F478-FEE1-F4A2E926C9C8}" dt="2022-01-24T04:02:54.553" v="143"/>
          <ac:spMkLst>
            <pc:docMk/>
            <pc:sldMk cId="34186525" sldId="259"/>
            <ac:spMk id="4" creationId="{450474C6-5574-49DB-9CFF-7F14BA8FB345}"/>
          </ac:spMkLst>
        </pc:spChg>
        <pc:spChg chg="del mod">
          <ac:chgData name="Koichi Ito" userId="S::koichi19960406_gmail.com#ext#@worldbankgroup.onmicrosoft.com::f9ef8c51-761c-4d11-abde-96febf25f02b" providerId="AD" clId="Web-{FE9D2749-58DA-F478-FEE1-F4A2E926C9C8}" dt="2022-01-24T04:02:22.162" v="136"/>
          <ac:spMkLst>
            <pc:docMk/>
            <pc:sldMk cId="34186525" sldId="259"/>
            <ac:spMk id="5" creationId="{94F985B1-BC7D-47E5-9BA8-C1FBA27CB966}"/>
          </ac:spMkLst>
        </pc:spChg>
        <pc:spChg chg="del">
          <ac:chgData name="Koichi Ito" userId="S::koichi19960406_gmail.com#ext#@worldbankgroup.onmicrosoft.com::f9ef8c51-761c-4d11-abde-96febf25f02b" providerId="AD" clId="Web-{FE9D2749-58DA-F478-FEE1-F4A2E926C9C8}" dt="2022-01-24T04:02:32.287" v="138"/>
          <ac:spMkLst>
            <pc:docMk/>
            <pc:sldMk cId="34186525" sldId="259"/>
            <ac:spMk id="6" creationId="{11581A38-AED0-4E74-B4EF-9F24929B1616}"/>
          </ac:spMkLst>
        </pc:spChg>
        <pc:spChg chg="add mod">
          <ac:chgData name="Koichi Ito" userId="S::koichi19960406_gmail.com#ext#@worldbankgroup.onmicrosoft.com::f9ef8c51-761c-4d11-abde-96febf25f02b" providerId="AD" clId="Web-{FE9D2749-58DA-F478-FEE1-F4A2E926C9C8}" dt="2022-01-24T04:05:15.944" v="227" actId="20577"/>
          <ac:spMkLst>
            <pc:docMk/>
            <pc:sldMk cId="34186525" sldId="259"/>
            <ac:spMk id="9" creationId="{52D291E5-8425-48C4-B4B1-5590CCA76623}"/>
          </ac:spMkLst>
        </pc:spChg>
        <pc:spChg chg="add mod">
          <ac:chgData name="Koichi Ito" userId="S::koichi19960406_gmail.com#ext#@worldbankgroup.onmicrosoft.com::f9ef8c51-761c-4d11-abde-96febf25f02b" providerId="AD" clId="Web-{FE9D2749-58DA-F478-FEE1-F4A2E926C9C8}" dt="2022-01-24T04:05:53.631" v="239" actId="20577"/>
          <ac:spMkLst>
            <pc:docMk/>
            <pc:sldMk cId="34186525" sldId="259"/>
            <ac:spMk id="10" creationId="{3D720C60-C4D9-4305-8531-10BE67CE83F9}"/>
          </ac:spMkLst>
        </pc:spChg>
        <pc:spChg chg="add mod">
          <ac:chgData name="Koichi Ito" userId="S::koichi19960406_gmail.com#ext#@worldbankgroup.onmicrosoft.com::f9ef8c51-761c-4d11-abde-96febf25f02b" providerId="AD" clId="Web-{FE9D2749-58DA-F478-FEE1-F4A2E926C9C8}" dt="2022-01-24T04:08:12.335" v="290" actId="20577"/>
          <ac:spMkLst>
            <pc:docMk/>
            <pc:sldMk cId="34186525" sldId="259"/>
            <ac:spMk id="11" creationId="{C2A7A6E2-F95B-4638-A8D3-98A65FEBD951}"/>
          </ac:spMkLst>
        </pc:spChg>
        <pc:spChg chg="add mod">
          <ac:chgData name="Koichi Ito" userId="S::koichi19960406_gmail.com#ext#@worldbankgroup.onmicrosoft.com::f9ef8c51-761c-4d11-abde-96febf25f02b" providerId="AD" clId="Web-{FE9D2749-58DA-F478-FEE1-F4A2E926C9C8}" dt="2022-01-24T04:02:53.693" v="142" actId="14100"/>
          <ac:spMkLst>
            <pc:docMk/>
            <pc:sldMk cId="34186525" sldId="259"/>
            <ac:spMk id="12" creationId="{73CBD350-4A43-4B97-B9D6-835EE8C9AAFD}"/>
          </ac:spMkLst>
        </pc:spChg>
      </pc:sldChg>
      <pc:sldChg chg="new del">
        <pc:chgData name="Koichi Ito" userId="S::koichi19960406_gmail.com#ext#@worldbankgroup.onmicrosoft.com::f9ef8c51-761c-4d11-abde-96febf25f02b" providerId="AD" clId="Web-{FE9D2749-58DA-F478-FEE1-F4A2E926C9C8}" dt="2022-01-24T03:58:55.833" v="65"/>
        <pc:sldMkLst>
          <pc:docMk/>
          <pc:sldMk cId="2847148138" sldId="259"/>
        </pc:sldMkLst>
      </pc:sldChg>
      <pc:sldChg chg="addSp delSp new add del ord">
        <pc:chgData name="Koichi Ito" userId="S::koichi19960406_gmail.com#ext#@worldbankgroup.onmicrosoft.com::f9ef8c51-761c-4d11-abde-96febf25f02b" providerId="AD" clId="Web-{FE9D2749-58DA-F478-FEE1-F4A2E926C9C8}" dt="2022-01-24T04:10:50.022" v="315"/>
        <pc:sldMkLst>
          <pc:docMk/>
          <pc:sldMk cId="533032709" sldId="260"/>
        </pc:sldMkLst>
        <pc:spChg chg="add del">
          <ac:chgData name="Koichi Ito" userId="S::koichi19960406_gmail.com#ext#@worldbankgroup.onmicrosoft.com::f9ef8c51-761c-4d11-abde-96febf25f02b" providerId="AD" clId="Web-{FE9D2749-58DA-F478-FEE1-F4A2E926C9C8}" dt="2022-01-24T04:10:34.179" v="307"/>
          <ac:spMkLst>
            <pc:docMk/>
            <pc:sldMk cId="533032709" sldId="260"/>
            <ac:spMk id="3" creationId="{11CBD3F7-48F1-4795-9DD4-9C09E24FC9C2}"/>
          </ac:spMkLst>
        </pc:spChg>
        <pc:spChg chg="add del">
          <ac:chgData name="Koichi Ito" userId="S::koichi19960406_gmail.com#ext#@worldbankgroup.onmicrosoft.com::f9ef8c51-761c-4d11-abde-96febf25f02b" providerId="AD" clId="Web-{FE9D2749-58DA-F478-FEE1-F4A2E926C9C8}" dt="2022-01-24T04:10:35.194" v="311"/>
          <ac:spMkLst>
            <pc:docMk/>
            <pc:sldMk cId="533032709" sldId="260"/>
            <ac:spMk id="7" creationId="{4941782B-AC47-483D-87BC-612E2CD74C24}"/>
          </ac:spMkLst>
        </pc:spChg>
        <pc:spChg chg="add del">
          <ac:chgData name="Koichi Ito" userId="S::koichi19960406_gmail.com#ext#@worldbankgroup.onmicrosoft.com::f9ef8c51-761c-4d11-abde-96febf25f02b" providerId="AD" clId="Web-{FE9D2749-58DA-F478-FEE1-F4A2E926C9C8}" dt="2022-01-24T04:10:35.194" v="310"/>
          <ac:spMkLst>
            <pc:docMk/>
            <pc:sldMk cId="533032709" sldId="260"/>
            <ac:spMk id="9" creationId="{BC0CDCA1-8123-4E8E-875F-4E136F32748E}"/>
          </ac:spMkLst>
        </pc:spChg>
        <pc:spChg chg="add del">
          <ac:chgData name="Koichi Ito" userId="S::koichi19960406_gmail.com#ext#@worldbankgroup.onmicrosoft.com::f9ef8c51-761c-4d11-abde-96febf25f02b" providerId="AD" clId="Web-{FE9D2749-58DA-F478-FEE1-F4A2E926C9C8}" dt="2022-01-24T04:10:35.194" v="309"/>
          <ac:spMkLst>
            <pc:docMk/>
            <pc:sldMk cId="533032709" sldId="260"/>
            <ac:spMk id="11" creationId="{A767ADE7-A4A6-488F-B9CA-3E69FCD9BAE4}"/>
          </ac:spMkLst>
        </pc:spChg>
        <pc:spChg chg="add del">
          <ac:chgData name="Koichi Ito" userId="S::koichi19960406_gmail.com#ext#@worldbankgroup.onmicrosoft.com::f9ef8c51-761c-4d11-abde-96febf25f02b" providerId="AD" clId="Web-{FE9D2749-58DA-F478-FEE1-F4A2E926C9C8}" dt="2022-01-24T04:10:35.194" v="308"/>
          <ac:spMkLst>
            <pc:docMk/>
            <pc:sldMk cId="533032709" sldId="260"/>
            <ac:spMk id="13" creationId="{10BD7590-6E40-40EB-8D12-962B0DFAD89D}"/>
          </ac:spMkLst>
        </pc:spChg>
      </pc:sldChg>
      <pc:sldChg chg="modSp new del">
        <pc:chgData name="Koichi Ito" userId="S::koichi19960406_gmail.com#ext#@worldbankgroup.onmicrosoft.com::f9ef8c51-761c-4d11-abde-96febf25f02b" providerId="AD" clId="Web-{FE9D2749-58DA-F478-FEE1-F4A2E926C9C8}" dt="2022-01-24T04:11:52.460" v="325"/>
        <pc:sldMkLst>
          <pc:docMk/>
          <pc:sldMk cId="2043045507" sldId="260"/>
        </pc:sldMkLst>
        <pc:spChg chg="mod">
          <ac:chgData name="Koichi Ito" userId="S::koichi19960406_gmail.com#ext#@worldbankgroup.onmicrosoft.com::f9ef8c51-761c-4d11-abde-96febf25f02b" providerId="AD" clId="Web-{FE9D2749-58DA-F478-FEE1-F4A2E926C9C8}" dt="2022-01-24T04:11:47.882" v="323" actId="20577"/>
          <ac:spMkLst>
            <pc:docMk/>
            <pc:sldMk cId="2043045507" sldId="260"/>
            <ac:spMk id="2" creationId="{17BA886E-53C6-450E-93ED-FDB2D9EF7FDB}"/>
          </ac:spMkLst>
        </pc:spChg>
      </pc:sldChg>
      <pc:sldChg chg="new del">
        <pc:chgData name="Koichi Ito" userId="S::koichi19960406_gmail.com#ext#@worldbankgroup.onmicrosoft.com::f9ef8c51-761c-4d11-abde-96febf25f02b" providerId="AD" clId="Web-{FE9D2749-58DA-F478-FEE1-F4A2E926C9C8}" dt="2022-01-24T04:10:57.022" v="317"/>
        <pc:sldMkLst>
          <pc:docMk/>
          <pc:sldMk cId="3454413313" sldId="260"/>
        </pc:sldMkLst>
      </pc:sldChg>
      <pc:sldChg chg="addSp delSp modSp new ord">
        <pc:chgData name="Koichi Ito" userId="S::koichi19960406_gmail.com#ext#@worldbankgroup.onmicrosoft.com::f9ef8c51-761c-4d11-abde-96febf25f02b" providerId="AD" clId="Web-{FE9D2749-58DA-F478-FEE1-F4A2E926C9C8}" dt="2022-01-24T04:16:31.617" v="369" actId="20577"/>
        <pc:sldMkLst>
          <pc:docMk/>
          <pc:sldMk cId="3961101582" sldId="260"/>
        </pc:sldMkLst>
        <pc:spChg chg="del">
          <ac:chgData name="Koichi Ito" userId="S::koichi19960406_gmail.com#ext#@worldbankgroup.onmicrosoft.com::f9ef8c51-761c-4d11-abde-96febf25f02b" providerId="AD" clId="Web-{FE9D2749-58DA-F478-FEE1-F4A2E926C9C8}" dt="2022-01-24T04:12:35.569" v="332"/>
          <ac:spMkLst>
            <pc:docMk/>
            <pc:sldMk cId="3961101582" sldId="260"/>
            <ac:spMk id="3" creationId="{4A214B6A-3F6D-4A22-B7FF-849B46459787}"/>
          </ac:spMkLst>
        </pc:spChg>
        <pc:spChg chg="add mod">
          <ac:chgData name="Koichi Ito" userId="S::koichi19960406_gmail.com#ext#@worldbankgroup.onmicrosoft.com::f9ef8c51-761c-4d11-abde-96febf25f02b" providerId="AD" clId="Web-{FE9D2749-58DA-F478-FEE1-F4A2E926C9C8}" dt="2022-01-24T04:16:31.617" v="369" actId="20577"/>
          <ac:spMkLst>
            <pc:docMk/>
            <pc:sldMk cId="3961101582" sldId="260"/>
            <ac:spMk id="7" creationId="{830ED3FE-7061-4E0F-BC7E-960A9CCC8035}"/>
          </ac:spMkLst>
        </pc:spChg>
        <pc:spChg chg="add mod">
          <ac:chgData name="Koichi Ito" userId="S::koichi19960406_gmail.com#ext#@worldbankgroup.onmicrosoft.com::f9ef8c51-761c-4d11-abde-96febf25f02b" providerId="AD" clId="Web-{FE9D2749-58DA-F478-FEE1-F4A2E926C9C8}" dt="2022-01-24T04:13:19.101" v="342" actId="1076"/>
          <ac:spMkLst>
            <pc:docMk/>
            <pc:sldMk cId="3961101582" sldId="260"/>
            <ac:spMk id="9" creationId="{F532BA4A-A990-489E-B307-A9F9E61EDCED}"/>
          </ac:spMkLst>
        </pc:spChg>
        <pc:spChg chg="add mod">
          <ac:chgData name="Koichi Ito" userId="S::koichi19960406_gmail.com#ext#@worldbankgroup.onmicrosoft.com::f9ef8c51-761c-4d11-abde-96febf25f02b" providerId="AD" clId="Web-{FE9D2749-58DA-F478-FEE1-F4A2E926C9C8}" dt="2022-01-24T04:13:19.116" v="343" actId="1076"/>
          <ac:spMkLst>
            <pc:docMk/>
            <pc:sldMk cId="3961101582" sldId="260"/>
            <ac:spMk id="11" creationId="{DC51FDCE-E443-4382-9E82-7EE25A398805}"/>
          </ac:spMkLst>
        </pc:spChg>
        <pc:spChg chg="add mod">
          <ac:chgData name="Koichi Ito" userId="S::koichi19960406_gmail.com#ext#@worldbankgroup.onmicrosoft.com::f9ef8c51-761c-4d11-abde-96febf25f02b" providerId="AD" clId="Web-{FE9D2749-58DA-F478-FEE1-F4A2E926C9C8}" dt="2022-01-24T04:13:53.413" v="355" actId="20577"/>
          <ac:spMkLst>
            <pc:docMk/>
            <pc:sldMk cId="3961101582" sldId="260"/>
            <ac:spMk id="13" creationId="{E487931E-8006-4906-9028-C01C28E93ABC}"/>
          </ac:spMkLst>
        </pc:spChg>
        <pc:picChg chg="add mod">
          <ac:chgData name="Koichi Ito" userId="S::koichi19960406_gmail.com#ext#@worldbankgroup.onmicrosoft.com::f9ef8c51-761c-4d11-abde-96febf25f02b" providerId="AD" clId="Web-{FE9D2749-58DA-F478-FEE1-F4A2E926C9C8}" dt="2022-01-24T04:16:28.601" v="367" actId="1076"/>
          <ac:picMkLst>
            <pc:docMk/>
            <pc:sldMk cId="3961101582" sldId="260"/>
            <ac:picMk id="14" creationId="{6288863C-56FC-42BE-8808-E015F6AD1103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B5782D1-AABD-4822-B9C2-EE85321944F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0"/>
            <a:ext cx="2972421" cy="457513"/>
          </a:xfrm>
          <a:prstGeom prst="rect">
            <a:avLst/>
          </a:prstGeom>
        </p:spPr>
        <p:txBody>
          <a:bodyPr vert="horz" lIns="89730" tIns="44865" rIns="89730" bIns="44865" rtlCol="0"/>
          <a:lstStyle>
            <a:lvl1pPr algn="l">
              <a:defRPr sz="1200">
                <a:latin typeface="Trebuchet MS" pitchFamily="34" charset="0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50EFB94-546F-4076-B279-41DB9F80438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027" y="0"/>
            <a:ext cx="2972421" cy="457513"/>
          </a:xfrm>
          <a:prstGeom prst="rect">
            <a:avLst/>
          </a:prstGeom>
        </p:spPr>
        <p:txBody>
          <a:bodyPr vert="horz" lIns="89730" tIns="44865" rIns="89730" bIns="44865" rtlCol="0"/>
          <a:lstStyle>
            <a:lvl1pPr algn="r">
              <a:defRPr sz="1200">
                <a:latin typeface="Trebuchet MS" pitchFamily="34" charset="0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fld id="{F2C63188-A52F-4FEF-945E-43D45B180FA7}" type="datetimeFigureOut">
              <a:rPr lang="en-US"/>
              <a:pPr>
                <a:defRPr/>
              </a:pPr>
              <a:t>4/28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597E84B-66E0-46AB-BCAC-26896E0A367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1" y="8684926"/>
            <a:ext cx="2972421" cy="457513"/>
          </a:xfrm>
          <a:prstGeom prst="rect">
            <a:avLst/>
          </a:prstGeom>
        </p:spPr>
        <p:txBody>
          <a:bodyPr vert="horz" lIns="89730" tIns="44865" rIns="89730" bIns="44865" rtlCol="0" anchor="b"/>
          <a:lstStyle>
            <a:lvl1pPr algn="l">
              <a:defRPr sz="1200">
                <a:latin typeface="Trebuchet MS" pitchFamily="34" charset="0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BE66B3D-A0CD-45F5-8990-D319D3FB5AC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027" y="8684926"/>
            <a:ext cx="2972421" cy="457513"/>
          </a:xfrm>
          <a:prstGeom prst="rect">
            <a:avLst/>
          </a:prstGeom>
        </p:spPr>
        <p:txBody>
          <a:bodyPr vert="horz" wrap="square" lIns="89730" tIns="44865" rIns="89730" bIns="44865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cs typeface="Times New Roman" panose="02020603050405020304" pitchFamily="18" charset="0"/>
              </a:defRPr>
            </a:lvl1pPr>
          </a:lstStyle>
          <a:p>
            <a:fld id="{CA3D67EF-B722-4632-937F-B75BBAA76FED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E5CC343-787A-426F-A0B3-AB686D58644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0"/>
            <a:ext cx="2972421" cy="457513"/>
          </a:xfrm>
          <a:prstGeom prst="rect">
            <a:avLst/>
          </a:prstGeom>
        </p:spPr>
        <p:txBody>
          <a:bodyPr vert="horz" lIns="89730" tIns="44865" rIns="89730" bIns="44865" rtlCol="0"/>
          <a:lstStyle>
            <a:lvl1pPr algn="l">
              <a:defRPr sz="1200">
                <a:latin typeface="Trebuchet MS" pitchFamily="34" charset="0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6F48461-461F-4EB4-8308-94326B81C167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84027" y="0"/>
            <a:ext cx="2972421" cy="457513"/>
          </a:xfrm>
          <a:prstGeom prst="rect">
            <a:avLst/>
          </a:prstGeom>
        </p:spPr>
        <p:txBody>
          <a:bodyPr vert="horz" lIns="89730" tIns="44865" rIns="89730" bIns="44865" rtlCol="0"/>
          <a:lstStyle>
            <a:lvl1pPr algn="r">
              <a:defRPr sz="1200">
                <a:latin typeface="Trebuchet MS" pitchFamily="34" charset="0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fld id="{D90B4CA9-F196-45F6-AADB-6C202B15EDC1}" type="datetimeFigureOut">
              <a:rPr lang="en-US"/>
              <a:pPr>
                <a:defRPr/>
              </a:pPr>
              <a:t>4/28/2024</a:t>
            </a:fld>
            <a:endParaRPr lang="en-US"/>
          </a:p>
        </p:txBody>
      </p:sp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5EB494ED-C13B-4EFD-AD8B-50643978DEBC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9730" tIns="44865" rIns="89730" bIns="44865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6FFE2BB3-C7D4-4852-8E77-59352A55918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86421" y="4344025"/>
            <a:ext cx="5485158" cy="4114488"/>
          </a:xfrm>
          <a:prstGeom prst="rect">
            <a:avLst/>
          </a:prstGeom>
        </p:spPr>
        <p:txBody>
          <a:bodyPr vert="horz" lIns="89730" tIns="44865" rIns="89730" bIns="44865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D3DA833-60F4-461A-9DAD-5200F1BBB37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1" y="8684926"/>
            <a:ext cx="2972421" cy="457513"/>
          </a:xfrm>
          <a:prstGeom prst="rect">
            <a:avLst/>
          </a:prstGeom>
        </p:spPr>
        <p:txBody>
          <a:bodyPr vert="horz" lIns="89730" tIns="44865" rIns="89730" bIns="44865" rtlCol="0" anchor="b"/>
          <a:lstStyle>
            <a:lvl1pPr algn="l">
              <a:defRPr sz="1200">
                <a:latin typeface="Trebuchet MS" pitchFamily="34" charset="0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AFBEF2F-B700-485E-AB54-86A73EBEABD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84027" y="8684926"/>
            <a:ext cx="2972421" cy="457513"/>
          </a:xfrm>
          <a:prstGeom prst="rect">
            <a:avLst/>
          </a:prstGeom>
        </p:spPr>
        <p:txBody>
          <a:bodyPr vert="horz" wrap="square" lIns="89730" tIns="44865" rIns="89730" bIns="44865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cs typeface="Times New Roman" panose="02020603050405020304" pitchFamily="18" charset="0"/>
              </a:defRPr>
            </a:lvl1pPr>
          </a:lstStyle>
          <a:p>
            <a:fld id="{2F8C79BD-1E3F-42A3-BA11-F282A6885F9F}" type="slidenum">
              <a:rPr lang="en-US" altLang="en-US"/>
              <a:pPr/>
              <a:t>‹#›</a:t>
            </a:fld>
            <a:endParaRPr lang="en-US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ＭＳ Ｐゴシック" charset="0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or details on installation process, see https://www.cse.unsw.edu.au/~en1811/resources/getting-started/install-anaconda.html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F8C79BD-1E3F-42A3-BA11-F282A6885F9F}" type="slidenum">
              <a:rPr lang="en-US" altLang="en-US" smtClean="0"/>
              <a:pPr/>
              <a:t>6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5821640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or details on installation process, see https://www.cse.unsw.edu.au/~en1811/resources/getting-started/install-anaconda.html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F8C79BD-1E3F-42A3-BA11-F282A6885F9F}" type="slidenum">
              <a:rPr lang="en-US" altLang="en-US" smtClean="0"/>
              <a:pPr/>
              <a:t>7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54174462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book.geemap.org/chapters/11_applications.htm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F8C79BD-1E3F-42A3-BA11-F282A6885F9F}" type="slidenum">
              <a:rPr lang="en-US" altLang="en-US" smtClean="0"/>
              <a:pPr/>
              <a:t>10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3362479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0CF1B245-662B-4CE9-8D7B-DDF0A1C3FEDF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0" y="0"/>
            <a:ext cx="9144000" cy="4479925"/>
          </a:xfrm>
          <a:prstGeom prst="rect">
            <a:avLst/>
          </a:prstGeom>
          <a:solidFill>
            <a:srgbClr val="139A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6C14DB2-16F3-445D-9D26-8EB45FE3D1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4311650"/>
            <a:ext cx="9144000" cy="176213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solidFill>
                <a:schemeClr val="bg1"/>
              </a:solidFill>
              <a:cs typeface="+mn-cs"/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1512623" y="1189789"/>
            <a:ext cx="6971806" cy="1822161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1525172" y="3000005"/>
            <a:ext cx="6959257" cy="87588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rgbClr val="FFFFFF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9" name="Text Placeholder 331"/>
          <p:cNvSpPr>
            <a:spLocks noGrp="1"/>
          </p:cNvSpPr>
          <p:nvPr>
            <p:ph type="body" sz="quarter" idx="14"/>
          </p:nvPr>
        </p:nvSpPr>
        <p:spPr>
          <a:xfrm>
            <a:off x="5682073" y="4699001"/>
            <a:ext cx="2821170" cy="1393637"/>
          </a:xfrm>
        </p:spPr>
        <p:txBody>
          <a:bodyPr anchor="b"/>
          <a:lstStyle>
            <a:lvl1pPr marL="0" marR="0" indent="0" algn="r" defTabSz="914400" rtl="0" eaLnBrk="1" fontAlgn="base" latinLnBrk="0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SzTx/>
              <a:buFontTx/>
              <a:buNone/>
              <a:tabLst/>
              <a:defRPr sz="1400" b="0" i="0" baseline="0">
                <a:solidFill>
                  <a:schemeClr val="tx1"/>
                </a:solidFill>
                <a:latin typeface="+mn-lt"/>
                <a:cs typeface="Arial"/>
              </a:defRPr>
            </a:lvl1pPr>
            <a:lvl2pPr marL="0" marR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SzTx/>
              <a:buFont typeface="Wingdings" charset="0"/>
              <a:buNone/>
              <a:tabLst/>
              <a:defRPr sz="1400" b="0" i="0">
                <a:latin typeface="+mn-l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0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508000" y="4699001"/>
            <a:ext cx="5058833" cy="1375832"/>
          </a:xfrm>
          <a:solidFill>
            <a:srgbClr val="FFFFFF"/>
          </a:solidFill>
        </p:spPr>
        <p:txBody>
          <a:bodyPr anchor="ctr">
            <a:normAutofit/>
          </a:bodyPr>
          <a:lstStyle>
            <a:lvl1pPr algn="ctr">
              <a:defRPr baseline="0">
                <a:solidFill>
                  <a:srgbClr val="021F43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8" name="Rectangle 1028">
            <a:extLst>
              <a:ext uri="{FF2B5EF4-FFF2-40B4-BE49-F238E27FC236}">
                <a16:creationId xmlns:a16="http://schemas.microsoft.com/office/drawing/2014/main" id="{15D8C0E8-0E0C-42DA-A1A0-ED2E45DB1A7E}"/>
              </a:ext>
            </a:extLst>
          </p:cNvPr>
          <p:cNvSpPr>
            <a:spLocks noGrp="1" noChangeArrowheads="1"/>
          </p:cNvSpPr>
          <p:nvPr>
            <p:ph type="dt" sz="half" idx="17"/>
          </p:nvPr>
        </p:nvSpPr>
        <p:spPr>
          <a:xfrm>
            <a:off x="5942013" y="6107113"/>
            <a:ext cx="2551112" cy="306387"/>
          </a:xfrm>
        </p:spPr>
        <p:txBody>
          <a:bodyPr rIns="0" anchor="ctr"/>
          <a:lstStyle>
            <a:lvl1pPr algn="r">
              <a:defRPr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4198180"/>
      </p:ext>
    </p:extLst>
  </p:cSld>
  <p:clrMapOvr>
    <a:masterClrMapping/>
  </p:clrMapOvr>
  <p:hf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3" y="288636"/>
            <a:ext cx="8533067" cy="461819"/>
          </a:xfrm>
        </p:spPr>
        <p:txBody>
          <a:bodyPr/>
          <a:lstStyle>
            <a:lvl1pPr>
              <a:defRPr sz="2200" b="0" i="0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3000" y="983838"/>
            <a:ext cx="5207000" cy="4904344"/>
          </a:xfrm>
        </p:spPr>
        <p:txBody>
          <a:bodyPr anchor="ctr"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1F46F348-64CA-4CCB-8203-8773236601B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50DFB59-E0D1-492F-ACF4-233FECDB42AA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3D9889DC-4C1A-4EC5-84CA-0E6268F37C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67355973"/>
      </p:ext>
    </p:extLst>
  </p:cSld>
  <p:clrMapOvr>
    <a:masterClrMapping/>
  </p:clrMapOvr>
  <p:hf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graph with Graphic El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0842" y="288636"/>
            <a:ext cx="8569158" cy="461819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22841" y="1443789"/>
            <a:ext cx="5307263" cy="4545263"/>
          </a:xfrm>
        </p:spPr>
        <p:txBody>
          <a:bodyPr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21093" y="1003049"/>
            <a:ext cx="3087853" cy="4972050"/>
          </a:xfrm>
        </p:spPr>
        <p:txBody>
          <a:bodyPr rIns="182880" anchor="ctr"/>
          <a:lstStyle>
            <a:lvl1pPr>
              <a:defRPr sz="160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3622675" y="976312"/>
            <a:ext cx="5294062" cy="414003"/>
          </a:xfrm>
        </p:spPr>
        <p:txBody>
          <a:bodyPr/>
          <a:lstStyle>
            <a:lvl1pPr algn="ctr">
              <a:defRPr sz="1600" b="0" cap="all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72D4B7BA-836F-40E9-BED4-BC2AFB361AA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9EBBE4FD-129D-44EF-B017-8D4C38DC52AA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C799810D-A837-4AEC-935D-E505E042755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1541776082"/>
      </p:ext>
    </p:extLst>
  </p:cSld>
  <p:clrMapOvr>
    <a:masterClrMapping/>
  </p:clrMapOvr>
  <p:hf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s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4"/>
            <a:ext cx="8410104" cy="983693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56934" y="1788583"/>
            <a:ext cx="4133273" cy="4399780"/>
          </a:xfrm>
        </p:spPr>
        <p:txBody>
          <a:bodyPr lIns="182880" rIns="182880" anchor="ctr"/>
          <a:lstStyle>
            <a:lvl1pPr marL="0" marR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 sz="1600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11"/>
          </p:nvPr>
        </p:nvSpPr>
        <p:spPr>
          <a:xfrm>
            <a:off x="4657428" y="1788509"/>
            <a:ext cx="4133088" cy="4402163"/>
          </a:xfrm>
        </p:spPr>
        <p:txBody>
          <a:bodyPr lIns="182880" rIns="182880" anchor="ctr"/>
          <a:lstStyle>
            <a:lvl1pPr marL="0" marR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 sz="1600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13"/>
          </p:nvPr>
        </p:nvSpPr>
        <p:spPr>
          <a:xfrm>
            <a:off x="356934" y="1429560"/>
            <a:ext cx="4133273" cy="264331"/>
          </a:xfrm>
        </p:spPr>
        <p:txBody>
          <a:bodyPr anchor="ctr">
            <a:normAutofit/>
          </a:bodyPr>
          <a:lstStyle>
            <a:lvl1pPr algn="ctr">
              <a:defRPr sz="1400" cap="all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4"/>
          </p:nvPr>
        </p:nvSpPr>
        <p:spPr>
          <a:xfrm>
            <a:off x="4657429" y="1421539"/>
            <a:ext cx="4133088" cy="264331"/>
          </a:xfrm>
        </p:spPr>
        <p:txBody>
          <a:bodyPr anchor="ctr">
            <a:normAutofit/>
          </a:bodyPr>
          <a:lstStyle>
            <a:lvl1pPr algn="ctr">
              <a:defRPr sz="1400" cap="all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5ECE16A4-9581-41B8-96B6-6F1AECE925D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ED703D01-E545-454E-B56E-9D158AB5ECAC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09F90E78-01B3-44E9-9A94-4DA1C337A75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4243939519"/>
      </p:ext>
    </p:extLst>
  </p:cSld>
  <p:clrMapOvr>
    <a:masterClrMapping/>
  </p:clrMapOvr>
  <p:hf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46364"/>
            <a:ext cx="3145592" cy="5784272"/>
          </a:xfrm>
        </p:spPr>
        <p:txBody>
          <a:bodyPr anchor="ctr"/>
          <a:lstStyle>
            <a:lvl1pPr>
              <a:defRPr sz="3200" b="0" i="0">
                <a:solidFill>
                  <a:schemeClr val="bg2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2999" y="346364"/>
            <a:ext cx="5166895" cy="5784271"/>
          </a:xfrm>
        </p:spPr>
        <p:txBody>
          <a:bodyPr anchor="ctr"/>
          <a:lstStyle>
            <a:lvl1pPr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defRPr sz="22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 marL="0" indent="0"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buNone/>
              <a:defRPr sz="2000" baseline="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 marL="18288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 marL="454914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8C263F1D-7AD9-44E4-9EC9-88043994494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71A0084-5EC0-4D10-8D33-7AB399472711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E5E36981-7DC5-4CEE-BCA1-1C56F048A3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1866643189"/>
      </p:ext>
    </p:extLst>
  </p:cSld>
  <p:clrMapOvr>
    <a:masterClrMapping/>
  </p:clrMapOvr>
  <p:hf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46364"/>
            <a:ext cx="3145592" cy="5784272"/>
          </a:xfrm>
        </p:spPr>
        <p:txBody>
          <a:bodyPr anchor="ctr"/>
          <a:lstStyle>
            <a:lvl1pPr>
              <a:defRPr sz="3200" b="0" i="0">
                <a:solidFill>
                  <a:schemeClr val="tx1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2999" y="346364"/>
            <a:ext cx="5166895" cy="5784271"/>
          </a:xfrm>
        </p:spPr>
        <p:txBody>
          <a:bodyPr anchor="ctr"/>
          <a:lstStyle>
            <a:lvl1pPr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defRPr sz="22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 marL="0" indent="0"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buNone/>
              <a:defRPr sz="2000" baseline="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 marL="18288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 marL="454914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D971238A-98D8-4FF3-8806-60E07ED2C9A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CBFBF85-D6D6-4806-8810-366DEDE21A51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1AC35530-917E-4D70-9EE0-23811959CD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143247085"/>
      </p:ext>
    </p:extLst>
  </p:cSld>
  <p:clrMapOvr>
    <a:masterClrMapping/>
  </p:clrMapOvr>
  <p:hf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b St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Freeform 1683">
            <a:extLst>
              <a:ext uri="{FF2B5EF4-FFF2-40B4-BE49-F238E27FC236}">
                <a16:creationId xmlns:a16="http://schemas.microsoft.com/office/drawing/2014/main" id="{5BFEFA31-B9C6-4568-B0C8-64632FA0DAF5}"/>
              </a:ext>
            </a:extLst>
          </p:cNvPr>
          <p:cNvSpPr>
            <a:spLocks/>
          </p:cNvSpPr>
          <p:nvPr/>
        </p:nvSpPr>
        <p:spPr bwMode="auto">
          <a:xfrm flipH="1">
            <a:off x="7410450" y="3175"/>
            <a:ext cx="712788" cy="584200"/>
          </a:xfrm>
          <a:custGeom>
            <a:avLst/>
            <a:gdLst>
              <a:gd name="T0" fmla="*/ 2147483647 w 448"/>
              <a:gd name="T1" fmla="*/ 2147483647 h 372"/>
              <a:gd name="T2" fmla="*/ 2147483647 w 448"/>
              <a:gd name="T3" fmla="*/ 2147483647 h 372"/>
              <a:gd name="T4" fmla="*/ 2147483647 w 448"/>
              <a:gd name="T5" fmla="*/ 2147483647 h 372"/>
              <a:gd name="T6" fmla="*/ 2147483647 w 448"/>
              <a:gd name="T7" fmla="*/ 2147483647 h 372"/>
              <a:gd name="T8" fmla="*/ 2147483647 w 448"/>
              <a:gd name="T9" fmla="*/ 2147483647 h 372"/>
              <a:gd name="T10" fmla="*/ 2147483647 w 448"/>
              <a:gd name="T11" fmla="*/ 2147483647 h 372"/>
              <a:gd name="T12" fmla="*/ 0 w 448"/>
              <a:gd name="T13" fmla="*/ 0 h 372"/>
              <a:gd name="T14" fmla="*/ 2147483647 w 448"/>
              <a:gd name="T15" fmla="*/ 0 h 372"/>
              <a:gd name="T16" fmla="*/ 2147483647 w 448"/>
              <a:gd name="T17" fmla="*/ 2147483647 h 372"/>
              <a:gd name="T18" fmla="*/ 2147483647 w 448"/>
              <a:gd name="T19" fmla="*/ 2147483647 h 372"/>
              <a:gd name="T20" fmla="*/ 2147483647 w 448"/>
              <a:gd name="T21" fmla="*/ 2147483647 h 372"/>
              <a:gd name="T22" fmla="*/ 2147483647 w 448"/>
              <a:gd name="T23" fmla="*/ 2147483647 h 372"/>
              <a:gd name="T24" fmla="*/ 2147483647 w 448"/>
              <a:gd name="T25" fmla="*/ 2147483647 h 372"/>
              <a:gd name="T26" fmla="*/ 2147483647 w 448"/>
              <a:gd name="T27" fmla="*/ 2147483647 h 372"/>
              <a:gd name="T28" fmla="*/ 2147483647 w 448"/>
              <a:gd name="T29" fmla="*/ 2147483647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4" name="Line 1086">
            <a:extLst>
              <a:ext uri="{FF2B5EF4-FFF2-40B4-BE49-F238E27FC236}">
                <a16:creationId xmlns:a16="http://schemas.microsoft.com/office/drawing/2014/main" id="{8A81A185-1E4C-4AC8-BF2B-77C6E5DE8665}"/>
              </a:ext>
            </a:extLst>
          </p:cNvPr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5" name="Line 1087">
            <a:extLst>
              <a:ext uri="{FF2B5EF4-FFF2-40B4-BE49-F238E27FC236}">
                <a16:creationId xmlns:a16="http://schemas.microsoft.com/office/drawing/2014/main" id="{6D64B74A-C5EA-4979-B7B8-7A9E6F1684BD}"/>
              </a:ext>
            </a:extLst>
          </p:cNvPr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6" name="Rectangle 1088">
            <a:extLst>
              <a:ext uri="{FF2B5EF4-FFF2-40B4-BE49-F238E27FC236}">
                <a16:creationId xmlns:a16="http://schemas.microsoft.com/office/drawing/2014/main" id="{D13571BC-E645-465F-A286-1CD5AF98EB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77" name="Rectangle 1089">
            <a:extLst>
              <a:ext uri="{FF2B5EF4-FFF2-40B4-BE49-F238E27FC236}">
                <a16:creationId xmlns:a16="http://schemas.microsoft.com/office/drawing/2014/main" id="{F8F7D73E-C852-4F61-8745-018FE346BF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78" name="Freeform 1098">
            <a:extLst>
              <a:ext uri="{FF2B5EF4-FFF2-40B4-BE49-F238E27FC236}">
                <a16:creationId xmlns:a16="http://schemas.microsoft.com/office/drawing/2014/main" id="{03083A04-8FF9-4CE0-97C1-E0CD8017F006}"/>
              </a:ext>
            </a:extLst>
          </p:cNvPr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>
              <a:gd name="T0" fmla="*/ 0 w 2"/>
              <a:gd name="T1" fmla="*/ 0 h 1587"/>
              <a:gd name="T2" fmla="*/ 2147483647 w 2"/>
              <a:gd name="T3" fmla="*/ 0 h 1587"/>
              <a:gd name="T4" fmla="*/ 2147483647 w 2"/>
              <a:gd name="T5" fmla="*/ 0 h 1587"/>
              <a:gd name="T6" fmla="*/ 2147483647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2147483647 w 2"/>
              <a:gd name="T35" fmla="*/ 0 h 1587"/>
              <a:gd name="T36" fmla="*/ 2147483647 w 2"/>
              <a:gd name="T37" fmla="*/ 0 h 1587"/>
              <a:gd name="T38" fmla="*/ 2147483647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9" name="Freeform 1115">
            <a:extLst>
              <a:ext uri="{FF2B5EF4-FFF2-40B4-BE49-F238E27FC236}">
                <a16:creationId xmlns:a16="http://schemas.microsoft.com/office/drawing/2014/main" id="{2FF406BE-DA23-461F-9B7D-4D45B480DBC4}"/>
              </a:ext>
            </a:extLst>
          </p:cNvPr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0 w 2"/>
              <a:gd name="T5" fmla="*/ 2147483647 h 2"/>
              <a:gd name="T6" fmla="*/ 0 w 2"/>
              <a:gd name="T7" fmla="*/ 2147483647 h 2"/>
              <a:gd name="T8" fmla="*/ 0 w 2"/>
              <a:gd name="T9" fmla="*/ 2147483647 h 2"/>
              <a:gd name="T10" fmla="*/ 0 w 2"/>
              <a:gd name="T11" fmla="*/ 2147483647 h 2"/>
              <a:gd name="T12" fmla="*/ 2147483647 w 2"/>
              <a:gd name="T13" fmla="*/ 2147483647 h 2"/>
              <a:gd name="T14" fmla="*/ 2147483647 w 2"/>
              <a:gd name="T15" fmla="*/ 2147483647 h 2"/>
              <a:gd name="T16" fmla="*/ 2147483647 w 2"/>
              <a:gd name="T17" fmla="*/ 0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0 w 2"/>
              <a:gd name="T25" fmla="*/ 2147483647 h 2"/>
              <a:gd name="T26" fmla="*/ 0 w 2"/>
              <a:gd name="T27" fmla="*/ 2147483647 h 2"/>
              <a:gd name="T28" fmla="*/ 2147483647 w 2"/>
              <a:gd name="T29" fmla="*/ 2147483647 h 2"/>
              <a:gd name="T30" fmla="*/ 2147483647 w 2"/>
              <a:gd name="T31" fmla="*/ 2147483647 h 2"/>
              <a:gd name="T32" fmla="*/ 2147483647 w 2"/>
              <a:gd name="T33" fmla="*/ 2147483647 h 2"/>
              <a:gd name="T34" fmla="*/ 2147483647 w 2"/>
              <a:gd name="T35" fmla="*/ 2147483647 h 2"/>
              <a:gd name="T36" fmla="*/ 2147483647 w 2"/>
              <a:gd name="T37" fmla="*/ 2147483647 h 2"/>
              <a:gd name="T38" fmla="*/ 2147483647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0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0 w 2"/>
              <a:gd name="T53" fmla="*/ 2147483647 h 2"/>
              <a:gd name="T54" fmla="*/ 2147483647 w 2"/>
              <a:gd name="T55" fmla="*/ 2147483647 h 2"/>
              <a:gd name="T56" fmla="*/ 0 w 2"/>
              <a:gd name="T57" fmla="*/ 2147483647 h 2"/>
              <a:gd name="T58" fmla="*/ 2147483647 w 2"/>
              <a:gd name="T59" fmla="*/ 2147483647 h 2"/>
              <a:gd name="T60" fmla="*/ 2147483647 w 2"/>
              <a:gd name="T61" fmla="*/ 2147483647 h 2"/>
              <a:gd name="T62" fmla="*/ 2147483647 w 2"/>
              <a:gd name="T63" fmla="*/ 2147483647 h 2"/>
              <a:gd name="T64" fmla="*/ 0 w 2"/>
              <a:gd name="T65" fmla="*/ 2147483647 h 2"/>
              <a:gd name="T66" fmla="*/ 0 w 2"/>
              <a:gd name="T67" fmla="*/ 2147483647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0" name="Freeform 1120">
            <a:extLst>
              <a:ext uri="{FF2B5EF4-FFF2-40B4-BE49-F238E27FC236}">
                <a16:creationId xmlns:a16="http://schemas.microsoft.com/office/drawing/2014/main" id="{1D7A9035-6B98-49F4-A062-4C35EE32151F}"/>
              </a:ext>
            </a:extLst>
          </p:cNvPr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2147483647 h 2"/>
              <a:gd name="T4" fmla="*/ 0 w 2"/>
              <a:gd name="T5" fmla="*/ 2147483647 h 2"/>
              <a:gd name="T6" fmla="*/ 0 w 2"/>
              <a:gd name="T7" fmla="*/ 2147483647 h 2"/>
              <a:gd name="T8" fmla="*/ 2147483647 w 2"/>
              <a:gd name="T9" fmla="*/ 2147483647 h 2"/>
              <a:gd name="T10" fmla="*/ 2147483647 w 2"/>
              <a:gd name="T11" fmla="*/ 0 h 2"/>
              <a:gd name="T12" fmla="*/ 2147483647 w 2"/>
              <a:gd name="T13" fmla="*/ 0 h 2"/>
              <a:gd name="T14" fmla="*/ 2147483647 w 2"/>
              <a:gd name="T15" fmla="*/ 0 h 2"/>
              <a:gd name="T16" fmla="*/ 0 w 2"/>
              <a:gd name="T17" fmla="*/ 0 h 2"/>
              <a:gd name="T18" fmla="*/ 0 w 2"/>
              <a:gd name="T19" fmla="*/ 2147483647 h 2"/>
              <a:gd name="T20" fmla="*/ 0 w 2"/>
              <a:gd name="T21" fmla="*/ 2147483647 h 2"/>
              <a:gd name="T22" fmla="*/ 2147483647 w 2"/>
              <a:gd name="T23" fmla="*/ 0 h 2"/>
              <a:gd name="T24" fmla="*/ 2147483647 w 2"/>
              <a:gd name="T25" fmla="*/ 0 h 2"/>
              <a:gd name="T26" fmla="*/ 2147483647 w 2"/>
              <a:gd name="T27" fmla="*/ 0 h 2"/>
              <a:gd name="T28" fmla="*/ 2147483647 w 2"/>
              <a:gd name="T29" fmla="*/ 2147483647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2147483647 h 2"/>
              <a:gd name="T38" fmla="*/ 0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2147483647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2147483647 w 2"/>
              <a:gd name="T53" fmla="*/ 2147483647 h 2"/>
              <a:gd name="T54" fmla="*/ 2147483647 w 2"/>
              <a:gd name="T55" fmla="*/ 2147483647 h 2"/>
              <a:gd name="T56" fmla="*/ 2147483647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1" name="Freeform 1134">
            <a:extLst>
              <a:ext uri="{FF2B5EF4-FFF2-40B4-BE49-F238E27FC236}">
                <a16:creationId xmlns:a16="http://schemas.microsoft.com/office/drawing/2014/main" id="{99F64C7C-A7FF-4303-898B-9BDF2A8B681F}"/>
              </a:ext>
            </a:extLst>
          </p:cNvPr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>
              <a:gd name="T0" fmla="*/ 2147483647 w 2"/>
              <a:gd name="T1" fmla="*/ 2147483647 h 4"/>
              <a:gd name="T2" fmla="*/ 2147483647 w 2"/>
              <a:gd name="T3" fmla="*/ 2147483647 h 4"/>
              <a:gd name="T4" fmla="*/ 2147483647 w 2"/>
              <a:gd name="T5" fmla="*/ 2147483647 h 4"/>
              <a:gd name="T6" fmla="*/ 2147483647 w 2"/>
              <a:gd name="T7" fmla="*/ 2147483647 h 4"/>
              <a:gd name="T8" fmla="*/ 2147483647 w 2"/>
              <a:gd name="T9" fmla="*/ 0 h 4"/>
              <a:gd name="T10" fmla="*/ 2147483647 w 2"/>
              <a:gd name="T11" fmla="*/ 0 h 4"/>
              <a:gd name="T12" fmla="*/ 2147483647 w 2"/>
              <a:gd name="T13" fmla="*/ 0 h 4"/>
              <a:gd name="T14" fmla="*/ 0 w 2"/>
              <a:gd name="T15" fmla="*/ 2147483647 h 4"/>
              <a:gd name="T16" fmla="*/ 2147483647 w 2"/>
              <a:gd name="T17" fmla="*/ 2147483647 h 4"/>
              <a:gd name="T18" fmla="*/ 2147483647 w 2"/>
              <a:gd name="T19" fmla="*/ 2147483647 h 4"/>
              <a:gd name="T20" fmla="*/ 2147483647 w 2"/>
              <a:gd name="T21" fmla="*/ 2147483647 h 4"/>
              <a:gd name="T22" fmla="*/ 2147483647 w 2"/>
              <a:gd name="T23" fmla="*/ 0 h 4"/>
              <a:gd name="T24" fmla="*/ 2147483647 w 2"/>
              <a:gd name="T25" fmla="*/ 2147483647 h 4"/>
              <a:gd name="T26" fmla="*/ 2147483647 w 2"/>
              <a:gd name="T27" fmla="*/ 2147483647 h 4"/>
              <a:gd name="T28" fmla="*/ 2147483647 w 2"/>
              <a:gd name="T29" fmla="*/ 2147483647 h 4"/>
              <a:gd name="T30" fmla="*/ 2147483647 w 2"/>
              <a:gd name="T31" fmla="*/ 2147483647 h 4"/>
              <a:gd name="T32" fmla="*/ 2147483647 w 2"/>
              <a:gd name="T33" fmla="*/ 2147483647 h 4"/>
              <a:gd name="T34" fmla="*/ 2147483647 w 2"/>
              <a:gd name="T35" fmla="*/ 2147483647 h 4"/>
              <a:gd name="T36" fmla="*/ 2147483647 w 2"/>
              <a:gd name="T37" fmla="*/ 2147483647 h 4"/>
              <a:gd name="T38" fmla="*/ 2147483647 w 2"/>
              <a:gd name="T39" fmla="*/ 2147483647 h 4"/>
              <a:gd name="T40" fmla="*/ 2147483647 w 2"/>
              <a:gd name="T41" fmla="*/ 2147483647 h 4"/>
              <a:gd name="T42" fmla="*/ 2147483647 w 2"/>
              <a:gd name="T43" fmla="*/ 2147483647 h 4"/>
              <a:gd name="T44" fmla="*/ 2147483647 w 2"/>
              <a:gd name="T45" fmla="*/ 2147483647 h 4"/>
              <a:gd name="T46" fmla="*/ 2147483647 w 2"/>
              <a:gd name="T47" fmla="*/ 2147483647 h 4"/>
              <a:gd name="T48" fmla="*/ 2147483647 w 2"/>
              <a:gd name="T49" fmla="*/ 2147483647 h 4"/>
              <a:gd name="T50" fmla="*/ 2147483647 w 2"/>
              <a:gd name="T51" fmla="*/ 2147483647 h 4"/>
              <a:gd name="T52" fmla="*/ 0 w 2"/>
              <a:gd name="T53" fmla="*/ 2147483647 h 4"/>
              <a:gd name="T54" fmla="*/ 2147483647 w 2"/>
              <a:gd name="T55" fmla="*/ 2147483647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2" name="Freeform 1141">
            <a:extLst>
              <a:ext uri="{FF2B5EF4-FFF2-40B4-BE49-F238E27FC236}">
                <a16:creationId xmlns:a16="http://schemas.microsoft.com/office/drawing/2014/main" id="{4D8CECC3-10E0-4B69-B5FC-D2FC02EFFC4B}"/>
              </a:ext>
            </a:extLst>
          </p:cNvPr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>
              <a:gd name="T0" fmla="*/ 0 w 1587"/>
              <a:gd name="T1" fmla="*/ 2147483647 h 4"/>
              <a:gd name="T2" fmla="*/ 0 w 1587"/>
              <a:gd name="T3" fmla="*/ 2147483647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2147483647 h 4"/>
              <a:gd name="T10" fmla="*/ 0 w 1587"/>
              <a:gd name="T11" fmla="*/ 2147483647 h 4"/>
              <a:gd name="T12" fmla="*/ 0 w 1587"/>
              <a:gd name="T13" fmla="*/ 2147483647 h 4"/>
              <a:gd name="T14" fmla="*/ 0 w 1587"/>
              <a:gd name="T15" fmla="*/ 2147483647 h 4"/>
              <a:gd name="T16" fmla="*/ 0 w 1587"/>
              <a:gd name="T17" fmla="*/ 2147483647 h 4"/>
              <a:gd name="T18" fmla="*/ 0 w 1587"/>
              <a:gd name="T19" fmla="*/ 2147483647 h 4"/>
              <a:gd name="T20" fmla="*/ 0 w 1587"/>
              <a:gd name="T21" fmla="*/ 2147483647 h 4"/>
              <a:gd name="T22" fmla="*/ 0 w 1587"/>
              <a:gd name="T23" fmla="*/ 2147483647 h 4"/>
              <a:gd name="T24" fmla="*/ 0 w 1587"/>
              <a:gd name="T25" fmla="*/ 2147483647 h 4"/>
              <a:gd name="T26" fmla="*/ 0 w 1587"/>
              <a:gd name="T27" fmla="*/ 2147483647 h 4"/>
              <a:gd name="T28" fmla="*/ 0 w 1587"/>
              <a:gd name="T29" fmla="*/ 2147483647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" name="Freeform 1148">
            <a:extLst>
              <a:ext uri="{FF2B5EF4-FFF2-40B4-BE49-F238E27FC236}">
                <a16:creationId xmlns:a16="http://schemas.microsoft.com/office/drawing/2014/main" id="{A1685C3C-4DEA-4429-B033-36B7FE92E08B}"/>
              </a:ext>
            </a:extLst>
          </p:cNvPr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>
              <a:gd name="T0" fmla="*/ 2147483647 w 2"/>
              <a:gd name="T1" fmla="*/ 2147483647 h 2"/>
              <a:gd name="T2" fmla="*/ 2147483647 w 2"/>
              <a:gd name="T3" fmla="*/ 0 h 2"/>
              <a:gd name="T4" fmla="*/ 2147483647 w 2"/>
              <a:gd name="T5" fmla="*/ 0 h 2"/>
              <a:gd name="T6" fmla="*/ 2147483647 w 2"/>
              <a:gd name="T7" fmla="*/ 0 h 2"/>
              <a:gd name="T8" fmla="*/ 2147483647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2147483647 h 2"/>
              <a:gd name="T16" fmla="*/ 0 w 2"/>
              <a:gd name="T17" fmla="*/ 2147483647 h 2"/>
              <a:gd name="T18" fmla="*/ 0 w 2"/>
              <a:gd name="T19" fmla="*/ 2147483647 h 2"/>
              <a:gd name="T20" fmla="*/ 2147483647 w 2"/>
              <a:gd name="T21" fmla="*/ 2147483647 h 2"/>
              <a:gd name="T22" fmla="*/ 2147483647 w 2"/>
              <a:gd name="T23" fmla="*/ 2147483647 h 2"/>
              <a:gd name="T24" fmla="*/ 2147483647 w 2"/>
              <a:gd name="T25" fmla="*/ 0 h 2"/>
              <a:gd name="T26" fmla="*/ 2147483647 w 2"/>
              <a:gd name="T27" fmla="*/ 0 h 2"/>
              <a:gd name="T28" fmla="*/ 2147483647 w 2"/>
              <a:gd name="T29" fmla="*/ 0 h 2"/>
              <a:gd name="T30" fmla="*/ 0 w 2"/>
              <a:gd name="T31" fmla="*/ 2147483647 h 2"/>
              <a:gd name="T32" fmla="*/ 2147483647 w 2"/>
              <a:gd name="T33" fmla="*/ 2147483647 h 2"/>
              <a:gd name="T34" fmla="*/ 2147483647 w 2"/>
              <a:gd name="T35" fmla="*/ 0 h 2"/>
              <a:gd name="T36" fmla="*/ 0 w 2"/>
              <a:gd name="T37" fmla="*/ 2147483647 h 2"/>
              <a:gd name="T38" fmla="*/ 2147483647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0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0 w 2"/>
              <a:gd name="T53" fmla="*/ 2147483647 h 2"/>
              <a:gd name="T54" fmla="*/ 0 w 2"/>
              <a:gd name="T55" fmla="*/ 2147483647 h 2"/>
              <a:gd name="T56" fmla="*/ 0 w 2"/>
              <a:gd name="T57" fmla="*/ 2147483647 h 2"/>
              <a:gd name="T58" fmla="*/ 2147483647 w 2"/>
              <a:gd name="T59" fmla="*/ 2147483647 h 2"/>
              <a:gd name="T60" fmla="*/ 2147483647 w 2"/>
              <a:gd name="T61" fmla="*/ 2147483647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4" name="Freeform 1150">
            <a:extLst>
              <a:ext uri="{FF2B5EF4-FFF2-40B4-BE49-F238E27FC236}">
                <a16:creationId xmlns:a16="http://schemas.microsoft.com/office/drawing/2014/main" id="{77FC5C64-0DD9-4B2A-ABF2-A522609F911C}"/>
              </a:ext>
            </a:extLst>
          </p:cNvPr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>
              <a:gd name="T0" fmla="*/ 0 w 1587"/>
              <a:gd name="T1" fmla="*/ 2147483647 h 2"/>
              <a:gd name="T2" fmla="*/ 0 w 1587"/>
              <a:gd name="T3" fmla="*/ 0 h 2"/>
              <a:gd name="T4" fmla="*/ 0 w 1587"/>
              <a:gd name="T5" fmla="*/ 2147483647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5" name="Freeform 1152">
            <a:extLst>
              <a:ext uri="{FF2B5EF4-FFF2-40B4-BE49-F238E27FC236}">
                <a16:creationId xmlns:a16="http://schemas.microsoft.com/office/drawing/2014/main" id="{D3D080CD-8E75-4B8E-884A-32AB3A48C60C}"/>
              </a:ext>
            </a:extLst>
          </p:cNvPr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>
              <a:gd name="T0" fmla="*/ 2147483647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2147483647 h 2"/>
              <a:gd name="T10" fmla="*/ 2147483647 w 2"/>
              <a:gd name="T11" fmla="*/ 2147483647 h 2"/>
              <a:gd name="T12" fmla="*/ 2147483647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2147483647 h 2"/>
              <a:gd name="T22" fmla="*/ 2147483647 w 2"/>
              <a:gd name="T23" fmla="*/ 2147483647 h 2"/>
              <a:gd name="T24" fmla="*/ 2147483647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6" name="Freeform 1154">
            <a:extLst>
              <a:ext uri="{FF2B5EF4-FFF2-40B4-BE49-F238E27FC236}">
                <a16:creationId xmlns:a16="http://schemas.microsoft.com/office/drawing/2014/main" id="{CE9A6D95-CB39-4143-9036-C63743CD87A9}"/>
              </a:ext>
            </a:extLst>
          </p:cNvPr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>
              <a:gd name="T0" fmla="*/ 2147483647 w 2"/>
              <a:gd name="T1" fmla="*/ 0 h 1588"/>
              <a:gd name="T2" fmla="*/ 0 w 2"/>
              <a:gd name="T3" fmla="*/ 0 h 1588"/>
              <a:gd name="T4" fmla="*/ 2147483647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7" name="Freeform 1156">
            <a:extLst>
              <a:ext uri="{FF2B5EF4-FFF2-40B4-BE49-F238E27FC236}">
                <a16:creationId xmlns:a16="http://schemas.microsoft.com/office/drawing/2014/main" id="{CC8F3F55-1CAF-4EFE-88C0-06DCDE473673}"/>
              </a:ext>
            </a:extLst>
          </p:cNvPr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>
              <a:gd name="T0" fmla="*/ 2147483647 w 2"/>
              <a:gd name="T1" fmla="*/ 2147483647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2147483647 h 2"/>
              <a:gd name="T8" fmla="*/ 2147483647 w 2"/>
              <a:gd name="T9" fmla="*/ 2147483647 h 2"/>
              <a:gd name="T10" fmla="*/ 2147483647 w 2"/>
              <a:gd name="T11" fmla="*/ 2147483647 h 2"/>
              <a:gd name="T12" fmla="*/ 2147483647 w 2"/>
              <a:gd name="T13" fmla="*/ 2147483647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2147483647 h 2"/>
              <a:gd name="T20" fmla="*/ 2147483647 w 2"/>
              <a:gd name="T21" fmla="*/ 2147483647 h 2"/>
              <a:gd name="T22" fmla="*/ 2147483647 w 2"/>
              <a:gd name="T23" fmla="*/ 2147483647 h 2"/>
              <a:gd name="T24" fmla="*/ 2147483647 w 2"/>
              <a:gd name="T25" fmla="*/ 2147483647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8" name="Freeform 1163">
            <a:extLst>
              <a:ext uri="{FF2B5EF4-FFF2-40B4-BE49-F238E27FC236}">
                <a16:creationId xmlns:a16="http://schemas.microsoft.com/office/drawing/2014/main" id="{4584A908-01FC-4932-9006-155BF5BAF468}"/>
              </a:ext>
            </a:extLst>
          </p:cNvPr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>
              <a:gd name="T0" fmla="*/ 2147483647 w 4"/>
              <a:gd name="T1" fmla="*/ 2147483647 h 2"/>
              <a:gd name="T2" fmla="*/ 2147483647 w 4"/>
              <a:gd name="T3" fmla="*/ 2147483647 h 2"/>
              <a:gd name="T4" fmla="*/ 2147483647 w 4"/>
              <a:gd name="T5" fmla="*/ 2147483647 h 2"/>
              <a:gd name="T6" fmla="*/ 2147483647 w 4"/>
              <a:gd name="T7" fmla="*/ 0 h 2"/>
              <a:gd name="T8" fmla="*/ 2147483647 w 4"/>
              <a:gd name="T9" fmla="*/ 0 h 2"/>
              <a:gd name="T10" fmla="*/ 2147483647 w 4"/>
              <a:gd name="T11" fmla="*/ 0 h 2"/>
              <a:gd name="T12" fmla="*/ 2147483647 w 4"/>
              <a:gd name="T13" fmla="*/ 0 h 2"/>
              <a:gd name="T14" fmla="*/ 0 w 4"/>
              <a:gd name="T15" fmla="*/ 2147483647 h 2"/>
              <a:gd name="T16" fmla="*/ 2147483647 w 4"/>
              <a:gd name="T17" fmla="*/ 2147483647 h 2"/>
              <a:gd name="T18" fmla="*/ 2147483647 w 4"/>
              <a:gd name="T19" fmla="*/ 0 h 2"/>
              <a:gd name="T20" fmla="*/ 2147483647 w 4"/>
              <a:gd name="T21" fmla="*/ 2147483647 h 2"/>
              <a:gd name="T22" fmla="*/ 2147483647 w 4"/>
              <a:gd name="T23" fmla="*/ 0 h 2"/>
              <a:gd name="T24" fmla="*/ 2147483647 w 4"/>
              <a:gd name="T25" fmla="*/ 0 h 2"/>
              <a:gd name="T26" fmla="*/ 2147483647 w 4"/>
              <a:gd name="T27" fmla="*/ 0 h 2"/>
              <a:gd name="T28" fmla="*/ 2147483647 w 4"/>
              <a:gd name="T29" fmla="*/ 0 h 2"/>
              <a:gd name="T30" fmla="*/ 0 w 4"/>
              <a:gd name="T31" fmla="*/ 0 h 2"/>
              <a:gd name="T32" fmla="*/ 2147483647 w 4"/>
              <a:gd name="T33" fmla="*/ 2147483647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9" name="Freeform 1172">
            <a:extLst>
              <a:ext uri="{FF2B5EF4-FFF2-40B4-BE49-F238E27FC236}">
                <a16:creationId xmlns:a16="http://schemas.microsoft.com/office/drawing/2014/main" id="{ACB354BF-ECF8-4F3A-814E-C29D34699827}"/>
              </a:ext>
            </a:extLst>
          </p:cNvPr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2147483647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2147483647 h 2"/>
              <a:gd name="T14" fmla="*/ 0 w 2"/>
              <a:gd name="T15" fmla="*/ 2147483647 h 2"/>
              <a:gd name="T16" fmla="*/ 0 w 2"/>
              <a:gd name="T17" fmla="*/ 2147483647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0 w 2"/>
              <a:gd name="T25" fmla="*/ 2147483647 h 2"/>
              <a:gd name="T26" fmla="*/ 0 w 2"/>
              <a:gd name="T27" fmla="*/ 2147483647 h 2"/>
              <a:gd name="T28" fmla="*/ 0 w 2"/>
              <a:gd name="T29" fmla="*/ 2147483647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2147483647 h 2"/>
              <a:gd name="T38" fmla="*/ 0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0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0 w 2"/>
              <a:gd name="T53" fmla="*/ 2147483647 h 2"/>
              <a:gd name="T54" fmla="*/ 0 w 2"/>
              <a:gd name="T55" fmla="*/ 2147483647 h 2"/>
              <a:gd name="T56" fmla="*/ 0 w 2"/>
              <a:gd name="T57" fmla="*/ 2147483647 h 2"/>
              <a:gd name="T58" fmla="*/ 0 w 2"/>
              <a:gd name="T59" fmla="*/ 2147483647 h 2"/>
              <a:gd name="T60" fmla="*/ 0 w 2"/>
              <a:gd name="T61" fmla="*/ 2147483647 h 2"/>
              <a:gd name="T62" fmla="*/ 0 w 2"/>
              <a:gd name="T63" fmla="*/ 2147483647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0" name="Freeform 1177">
            <a:extLst>
              <a:ext uri="{FF2B5EF4-FFF2-40B4-BE49-F238E27FC236}">
                <a16:creationId xmlns:a16="http://schemas.microsoft.com/office/drawing/2014/main" id="{EEA806DA-DF24-4B3D-B26B-D9A57FBFEE67}"/>
              </a:ext>
            </a:extLst>
          </p:cNvPr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>
              <a:gd name="T0" fmla="*/ 0 w 2"/>
              <a:gd name="T1" fmla="*/ 2147483647 h 2"/>
              <a:gd name="T2" fmla="*/ 2147483647 w 2"/>
              <a:gd name="T3" fmla="*/ 2147483647 h 2"/>
              <a:gd name="T4" fmla="*/ 2147483647 w 2"/>
              <a:gd name="T5" fmla="*/ 2147483647 h 2"/>
              <a:gd name="T6" fmla="*/ 2147483647 w 2"/>
              <a:gd name="T7" fmla="*/ 0 h 2"/>
              <a:gd name="T8" fmla="*/ 2147483647 w 2"/>
              <a:gd name="T9" fmla="*/ 0 h 2"/>
              <a:gd name="T10" fmla="*/ 2147483647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2147483647 h 2"/>
              <a:gd name="T40" fmla="*/ 0 w 2"/>
              <a:gd name="T41" fmla="*/ 2147483647 h 2"/>
              <a:gd name="T42" fmla="*/ 2147483647 w 2"/>
              <a:gd name="T43" fmla="*/ 2147483647 h 2"/>
              <a:gd name="T44" fmla="*/ 2147483647 w 2"/>
              <a:gd name="T45" fmla="*/ 0 h 2"/>
              <a:gd name="T46" fmla="*/ 2147483647 w 2"/>
              <a:gd name="T47" fmla="*/ 0 h 2"/>
              <a:gd name="T48" fmla="*/ 2147483647 w 2"/>
              <a:gd name="T49" fmla="*/ 0 h 2"/>
              <a:gd name="T50" fmla="*/ 2147483647 w 2"/>
              <a:gd name="T51" fmla="*/ 0 h 2"/>
              <a:gd name="T52" fmla="*/ 2147483647 w 2"/>
              <a:gd name="T53" fmla="*/ 0 h 2"/>
              <a:gd name="T54" fmla="*/ 2147483647 w 2"/>
              <a:gd name="T55" fmla="*/ 0 h 2"/>
              <a:gd name="T56" fmla="*/ 2147483647 w 2"/>
              <a:gd name="T57" fmla="*/ 0 h 2"/>
              <a:gd name="T58" fmla="*/ 2147483647 w 2"/>
              <a:gd name="T59" fmla="*/ 0 h 2"/>
              <a:gd name="T60" fmla="*/ 2147483647 w 2"/>
              <a:gd name="T61" fmla="*/ 0 h 2"/>
              <a:gd name="T62" fmla="*/ 2147483647 w 2"/>
              <a:gd name="T63" fmla="*/ 0 h 2"/>
              <a:gd name="T64" fmla="*/ 2147483647 w 2"/>
              <a:gd name="T65" fmla="*/ 0 h 2"/>
              <a:gd name="T66" fmla="*/ 2147483647 w 2"/>
              <a:gd name="T67" fmla="*/ 2147483647 h 2"/>
              <a:gd name="T68" fmla="*/ 2147483647 w 2"/>
              <a:gd name="T69" fmla="*/ 0 h 2"/>
              <a:gd name="T70" fmla="*/ 2147483647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2147483647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1" name="Freeform 1180">
            <a:extLst>
              <a:ext uri="{FF2B5EF4-FFF2-40B4-BE49-F238E27FC236}">
                <a16:creationId xmlns:a16="http://schemas.microsoft.com/office/drawing/2014/main" id="{95D34BCF-741B-46EB-A0F3-3DC5A1F1953C}"/>
              </a:ext>
            </a:extLst>
          </p:cNvPr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>
              <a:gd name="T0" fmla="*/ 0 w 2"/>
              <a:gd name="T1" fmla="*/ 2147483647 h 3"/>
              <a:gd name="T2" fmla="*/ 0 w 2"/>
              <a:gd name="T3" fmla="*/ 2147483647 h 3"/>
              <a:gd name="T4" fmla="*/ 2147483647 w 2"/>
              <a:gd name="T5" fmla="*/ 2147483647 h 3"/>
              <a:gd name="T6" fmla="*/ 2147483647 w 2"/>
              <a:gd name="T7" fmla="*/ 2147483647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2147483647 h 3"/>
              <a:gd name="T16" fmla="*/ 0 w 2"/>
              <a:gd name="T17" fmla="*/ 2147483647 h 3"/>
              <a:gd name="T18" fmla="*/ 0 w 2"/>
              <a:gd name="T19" fmla="*/ 2147483647 h 3"/>
              <a:gd name="T20" fmla="*/ 0 w 2"/>
              <a:gd name="T21" fmla="*/ 2147483647 h 3"/>
              <a:gd name="T22" fmla="*/ 0 w 2"/>
              <a:gd name="T23" fmla="*/ 0 h 3"/>
              <a:gd name="T24" fmla="*/ 0 w 2"/>
              <a:gd name="T25" fmla="*/ 2147483647 h 3"/>
              <a:gd name="T26" fmla="*/ 0 w 2"/>
              <a:gd name="T27" fmla="*/ 2147483647 h 3"/>
              <a:gd name="T28" fmla="*/ 0 w 2"/>
              <a:gd name="T29" fmla="*/ 2147483647 h 3"/>
              <a:gd name="T30" fmla="*/ 0 w 2"/>
              <a:gd name="T31" fmla="*/ 2147483647 h 3"/>
              <a:gd name="T32" fmla="*/ 0 w 2"/>
              <a:gd name="T33" fmla="*/ 2147483647 h 3"/>
              <a:gd name="T34" fmla="*/ 0 w 2"/>
              <a:gd name="T35" fmla="*/ 2147483647 h 3"/>
              <a:gd name="T36" fmla="*/ 0 w 2"/>
              <a:gd name="T37" fmla="*/ 2147483647 h 3"/>
              <a:gd name="T38" fmla="*/ 0 w 2"/>
              <a:gd name="T39" fmla="*/ 2147483647 h 3"/>
              <a:gd name="T40" fmla="*/ 0 w 2"/>
              <a:gd name="T41" fmla="*/ 2147483647 h 3"/>
              <a:gd name="T42" fmla="*/ 0 w 2"/>
              <a:gd name="T43" fmla="*/ 2147483647 h 3"/>
              <a:gd name="T44" fmla="*/ 0 w 2"/>
              <a:gd name="T45" fmla="*/ 2147483647 h 3"/>
              <a:gd name="T46" fmla="*/ 0 w 2"/>
              <a:gd name="T47" fmla="*/ 2147483647 h 3"/>
              <a:gd name="T48" fmla="*/ 0 w 2"/>
              <a:gd name="T49" fmla="*/ 2147483647 h 3"/>
              <a:gd name="T50" fmla="*/ 0 w 2"/>
              <a:gd name="T51" fmla="*/ 2147483647 h 3"/>
              <a:gd name="T52" fmla="*/ 0 w 2"/>
              <a:gd name="T53" fmla="*/ 2147483647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2" name="Line 1187">
            <a:extLst>
              <a:ext uri="{FF2B5EF4-FFF2-40B4-BE49-F238E27FC236}">
                <a16:creationId xmlns:a16="http://schemas.microsoft.com/office/drawing/2014/main" id="{2753965E-146B-45D0-B8E5-BBF74F452294}"/>
              </a:ext>
            </a:extLst>
          </p:cNvPr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3" name="Line 1188">
            <a:extLst>
              <a:ext uri="{FF2B5EF4-FFF2-40B4-BE49-F238E27FC236}">
                <a16:creationId xmlns:a16="http://schemas.microsoft.com/office/drawing/2014/main" id="{B242A472-F266-4C4C-BF69-7338CCCFED46}"/>
              </a:ext>
            </a:extLst>
          </p:cNvPr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4" name="Freeform 1208">
            <a:extLst>
              <a:ext uri="{FF2B5EF4-FFF2-40B4-BE49-F238E27FC236}">
                <a16:creationId xmlns:a16="http://schemas.microsoft.com/office/drawing/2014/main" id="{FBCC16A7-2961-4DE5-BC90-3C9E8602B412}"/>
              </a:ext>
            </a:extLst>
          </p:cNvPr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5" name="Freeform 1210">
            <a:extLst>
              <a:ext uri="{FF2B5EF4-FFF2-40B4-BE49-F238E27FC236}">
                <a16:creationId xmlns:a16="http://schemas.microsoft.com/office/drawing/2014/main" id="{4C8A5580-AFEE-417A-A853-490CC2B571DE}"/>
              </a:ext>
            </a:extLst>
          </p:cNvPr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2147483647 h 2"/>
              <a:gd name="T6" fmla="*/ 2147483647 w 2"/>
              <a:gd name="T7" fmla="*/ 0 h 2"/>
              <a:gd name="T8" fmla="*/ 2147483647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2147483647 h 2"/>
              <a:gd name="T18" fmla="*/ 0 w 2"/>
              <a:gd name="T19" fmla="*/ 2147483647 h 2"/>
              <a:gd name="T20" fmla="*/ 2147483647 w 2"/>
              <a:gd name="T21" fmla="*/ 2147483647 h 2"/>
              <a:gd name="T22" fmla="*/ 2147483647 w 2"/>
              <a:gd name="T23" fmla="*/ 0 h 2"/>
              <a:gd name="T24" fmla="*/ 2147483647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2147483647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6" name="Freeform 1214">
            <a:extLst>
              <a:ext uri="{FF2B5EF4-FFF2-40B4-BE49-F238E27FC236}">
                <a16:creationId xmlns:a16="http://schemas.microsoft.com/office/drawing/2014/main" id="{ED0830FB-256C-46A3-BC49-466ACFAF3565}"/>
              </a:ext>
            </a:extLst>
          </p:cNvPr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2147483647 h 2"/>
              <a:gd name="T2" fmla="*/ 2147483647 w 2"/>
              <a:gd name="T3" fmla="*/ 2147483647 h 2"/>
              <a:gd name="T4" fmla="*/ 0 w 2"/>
              <a:gd name="T5" fmla="*/ 0 h 2"/>
              <a:gd name="T6" fmla="*/ 0 w 2"/>
              <a:gd name="T7" fmla="*/ 2147483647 h 2"/>
              <a:gd name="T8" fmla="*/ 0 w 2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7" name="Rectangle 1215">
            <a:extLst>
              <a:ext uri="{FF2B5EF4-FFF2-40B4-BE49-F238E27FC236}">
                <a16:creationId xmlns:a16="http://schemas.microsoft.com/office/drawing/2014/main" id="{33431B4B-1A77-4C94-BFEC-DDC54E8265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98" name="Freeform 1217">
            <a:extLst>
              <a:ext uri="{FF2B5EF4-FFF2-40B4-BE49-F238E27FC236}">
                <a16:creationId xmlns:a16="http://schemas.microsoft.com/office/drawing/2014/main" id="{CB8FFAA2-3DE7-4296-96A1-0BC2C301FCB1}"/>
              </a:ext>
            </a:extLst>
          </p:cNvPr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9" name="Freeform 1219">
            <a:extLst>
              <a:ext uri="{FF2B5EF4-FFF2-40B4-BE49-F238E27FC236}">
                <a16:creationId xmlns:a16="http://schemas.microsoft.com/office/drawing/2014/main" id="{13F89176-268E-45EC-8951-7934E269005C}"/>
              </a:ext>
            </a:extLst>
          </p:cNvPr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0" name="Freeform 1221">
            <a:extLst>
              <a:ext uri="{FF2B5EF4-FFF2-40B4-BE49-F238E27FC236}">
                <a16:creationId xmlns:a16="http://schemas.microsoft.com/office/drawing/2014/main" id="{A1CAB820-8B52-405B-98C8-EFA9B48C3C33}"/>
              </a:ext>
            </a:extLst>
          </p:cNvPr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>
              <a:gd name="T0" fmla="*/ 2147483647 w 2"/>
              <a:gd name="T1" fmla="*/ 0 h 2"/>
              <a:gd name="T2" fmla="*/ 2147483647 w 2"/>
              <a:gd name="T3" fmla="*/ 0 h 2"/>
              <a:gd name="T4" fmla="*/ 2147483647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2147483647 h 2"/>
              <a:gd name="T12" fmla="*/ 2147483647 w 2"/>
              <a:gd name="T13" fmla="*/ 0 h 2"/>
              <a:gd name="T14" fmla="*/ 2147483647 w 2"/>
              <a:gd name="T15" fmla="*/ 0 h 2"/>
              <a:gd name="T16" fmla="*/ 2147483647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2147483647 h 2"/>
              <a:gd name="T24" fmla="*/ 2147483647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1" name="Freeform 1234">
            <a:extLst>
              <a:ext uri="{FF2B5EF4-FFF2-40B4-BE49-F238E27FC236}">
                <a16:creationId xmlns:a16="http://schemas.microsoft.com/office/drawing/2014/main" id="{C40ED277-0E0F-4E8B-AAE9-655F9B963729}"/>
              </a:ext>
            </a:extLst>
          </p:cNvPr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2147483647 w 2"/>
              <a:gd name="T5" fmla="*/ 0 h 1587"/>
              <a:gd name="T6" fmla="*/ 2147483647 w 2"/>
              <a:gd name="T7" fmla="*/ 0 h 1587"/>
              <a:gd name="T8" fmla="*/ 2147483647 w 2"/>
              <a:gd name="T9" fmla="*/ 0 h 1587"/>
              <a:gd name="T10" fmla="*/ 2147483647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2147483647 w 2"/>
              <a:gd name="T25" fmla="*/ 0 h 1587"/>
              <a:gd name="T26" fmla="*/ 2147483647 w 2"/>
              <a:gd name="T27" fmla="*/ 0 h 1587"/>
              <a:gd name="T28" fmla="*/ 2147483647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2147483647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2" name="Line 1237">
            <a:extLst>
              <a:ext uri="{FF2B5EF4-FFF2-40B4-BE49-F238E27FC236}">
                <a16:creationId xmlns:a16="http://schemas.microsoft.com/office/drawing/2014/main" id="{C893446B-533B-4608-928E-63CE79226518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3" name="Line 1238">
            <a:extLst>
              <a:ext uri="{FF2B5EF4-FFF2-40B4-BE49-F238E27FC236}">
                <a16:creationId xmlns:a16="http://schemas.microsoft.com/office/drawing/2014/main" id="{402AA6B7-780F-4EA7-89ED-D0DE58F9449F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4" name="Freeform 1240">
            <a:extLst>
              <a:ext uri="{FF2B5EF4-FFF2-40B4-BE49-F238E27FC236}">
                <a16:creationId xmlns:a16="http://schemas.microsoft.com/office/drawing/2014/main" id="{82EF9DA2-A776-4D28-881A-18243BADD181}"/>
              </a:ext>
            </a:extLst>
          </p:cNvPr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>
              <a:gd name="T0" fmla="*/ 0 w 1587"/>
              <a:gd name="T1" fmla="*/ 2147483647 h 2"/>
              <a:gd name="T2" fmla="*/ 0 w 1587"/>
              <a:gd name="T3" fmla="*/ 2147483647 h 2"/>
              <a:gd name="T4" fmla="*/ 0 w 1587"/>
              <a:gd name="T5" fmla="*/ 0 h 2"/>
              <a:gd name="T6" fmla="*/ 0 w 1587"/>
              <a:gd name="T7" fmla="*/ 2147483647 h 2"/>
              <a:gd name="T8" fmla="*/ 0 w 1587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5" name="Freeform 1243">
            <a:extLst>
              <a:ext uri="{FF2B5EF4-FFF2-40B4-BE49-F238E27FC236}">
                <a16:creationId xmlns:a16="http://schemas.microsoft.com/office/drawing/2014/main" id="{DA207D8E-C082-43E3-80E5-4C5DA25CB309}"/>
              </a:ext>
            </a:extLst>
          </p:cNvPr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>
              <a:gd name="T0" fmla="*/ 2147483647 w 2"/>
              <a:gd name="T1" fmla="*/ 2147483647 h 2"/>
              <a:gd name="T2" fmla="*/ 2147483647 w 2"/>
              <a:gd name="T3" fmla="*/ 2147483647 h 2"/>
              <a:gd name="T4" fmla="*/ 2147483647 w 2"/>
              <a:gd name="T5" fmla="*/ 2147483647 h 2"/>
              <a:gd name="T6" fmla="*/ 2147483647 w 2"/>
              <a:gd name="T7" fmla="*/ 2147483647 h 2"/>
              <a:gd name="T8" fmla="*/ 0 w 2"/>
              <a:gd name="T9" fmla="*/ 2147483647 h 2"/>
              <a:gd name="T10" fmla="*/ 0 w 2"/>
              <a:gd name="T11" fmla="*/ 2147483647 h 2"/>
              <a:gd name="T12" fmla="*/ 2147483647 w 2"/>
              <a:gd name="T13" fmla="*/ 2147483647 h 2"/>
              <a:gd name="T14" fmla="*/ 0 w 2"/>
              <a:gd name="T15" fmla="*/ 2147483647 h 2"/>
              <a:gd name="T16" fmla="*/ 0 w 2"/>
              <a:gd name="T17" fmla="*/ 2147483647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0 w 2"/>
              <a:gd name="T25" fmla="*/ 2147483647 h 2"/>
              <a:gd name="T26" fmla="*/ 0 w 2"/>
              <a:gd name="T27" fmla="*/ 2147483647 h 2"/>
              <a:gd name="T28" fmla="*/ 0 w 2"/>
              <a:gd name="T29" fmla="*/ 2147483647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2147483647 h 2"/>
              <a:gd name="T38" fmla="*/ 2147483647 w 2"/>
              <a:gd name="T39" fmla="*/ 2147483647 h 2"/>
              <a:gd name="T40" fmla="*/ 2147483647 w 2"/>
              <a:gd name="T41" fmla="*/ 2147483647 h 2"/>
              <a:gd name="T42" fmla="*/ 2147483647 w 2"/>
              <a:gd name="T43" fmla="*/ 2147483647 h 2"/>
              <a:gd name="T44" fmla="*/ 2147483647 w 2"/>
              <a:gd name="T45" fmla="*/ 2147483647 h 2"/>
              <a:gd name="T46" fmla="*/ 2147483647 w 2"/>
              <a:gd name="T47" fmla="*/ 2147483647 h 2"/>
              <a:gd name="T48" fmla="*/ 0 w 2"/>
              <a:gd name="T49" fmla="*/ 0 h 2"/>
              <a:gd name="T50" fmla="*/ 0 w 2"/>
              <a:gd name="T51" fmla="*/ 2147483647 h 2"/>
              <a:gd name="T52" fmla="*/ 0 w 2"/>
              <a:gd name="T53" fmla="*/ 2147483647 h 2"/>
              <a:gd name="T54" fmla="*/ 0 w 2"/>
              <a:gd name="T55" fmla="*/ 2147483647 h 2"/>
              <a:gd name="T56" fmla="*/ 2147483647 w 2"/>
              <a:gd name="T57" fmla="*/ 2147483647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6" name="Freeform 1246">
            <a:extLst>
              <a:ext uri="{FF2B5EF4-FFF2-40B4-BE49-F238E27FC236}">
                <a16:creationId xmlns:a16="http://schemas.microsoft.com/office/drawing/2014/main" id="{05CA4221-63B1-478C-9F93-1E7B4AB4EB17}"/>
              </a:ext>
            </a:extLst>
          </p:cNvPr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0 h 2"/>
              <a:gd name="T6" fmla="*/ 2147483647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2147483647 h 2"/>
              <a:gd name="T14" fmla="*/ 0 w 2"/>
              <a:gd name="T15" fmla="*/ 2147483647 h 2"/>
              <a:gd name="T16" fmla="*/ 2147483647 w 2"/>
              <a:gd name="T17" fmla="*/ 0 h 2"/>
              <a:gd name="T18" fmla="*/ 2147483647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2147483647 h 2"/>
              <a:gd name="T48" fmla="*/ 0 w 2"/>
              <a:gd name="T49" fmla="*/ 2147483647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7" name="Freeform 1250">
            <a:extLst>
              <a:ext uri="{FF2B5EF4-FFF2-40B4-BE49-F238E27FC236}">
                <a16:creationId xmlns:a16="http://schemas.microsoft.com/office/drawing/2014/main" id="{BD88FF35-D636-4E9B-B9DF-1A75BA493659}"/>
              </a:ext>
            </a:extLst>
          </p:cNvPr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>
              <a:gd name="T0" fmla="*/ 2147483647 w 2"/>
              <a:gd name="T1" fmla="*/ 0 h 1588"/>
              <a:gd name="T2" fmla="*/ 0 w 2"/>
              <a:gd name="T3" fmla="*/ 0 h 1588"/>
              <a:gd name="T4" fmla="*/ 2147483647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8" name="Freeform 1252">
            <a:extLst>
              <a:ext uri="{FF2B5EF4-FFF2-40B4-BE49-F238E27FC236}">
                <a16:creationId xmlns:a16="http://schemas.microsoft.com/office/drawing/2014/main" id="{2CEA3ADF-B15E-4ECF-B5C0-46F2F436726C}"/>
              </a:ext>
            </a:extLst>
          </p:cNvPr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>
              <a:gd name="T0" fmla="*/ 2147483647 w 2"/>
              <a:gd name="T1" fmla="*/ 2147483647 h 5"/>
              <a:gd name="T2" fmla="*/ 2147483647 w 2"/>
              <a:gd name="T3" fmla="*/ 2147483647 h 5"/>
              <a:gd name="T4" fmla="*/ 0 w 2"/>
              <a:gd name="T5" fmla="*/ 0 h 5"/>
              <a:gd name="T6" fmla="*/ 0 w 2"/>
              <a:gd name="T7" fmla="*/ 2147483647 h 5"/>
              <a:gd name="T8" fmla="*/ 0 w 2"/>
              <a:gd name="T9" fmla="*/ 2147483647 h 5"/>
              <a:gd name="T10" fmla="*/ 2147483647 w 2"/>
              <a:gd name="T11" fmla="*/ 2147483647 h 5"/>
              <a:gd name="T12" fmla="*/ 2147483647 w 2"/>
              <a:gd name="T13" fmla="*/ 2147483647 h 5"/>
              <a:gd name="T14" fmla="*/ 2147483647 w 2"/>
              <a:gd name="T15" fmla="*/ 2147483647 h 5"/>
              <a:gd name="T16" fmla="*/ 0 w 2"/>
              <a:gd name="T17" fmla="*/ 0 h 5"/>
              <a:gd name="T18" fmla="*/ 0 w 2"/>
              <a:gd name="T19" fmla="*/ 2147483647 h 5"/>
              <a:gd name="T20" fmla="*/ 0 w 2"/>
              <a:gd name="T21" fmla="*/ 2147483647 h 5"/>
              <a:gd name="T22" fmla="*/ 2147483647 w 2"/>
              <a:gd name="T23" fmla="*/ 2147483647 h 5"/>
              <a:gd name="T24" fmla="*/ 2147483647 w 2"/>
              <a:gd name="T25" fmla="*/ 2147483647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9" name="Freeform 1255">
            <a:extLst>
              <a:ext uri="{FF2B5EF4-FFF2-40B4-BE49-F238E27FC236}">
                <a16:creationId xmlns:a16="http://schemas.microsoft.com/office/drawing/2014/main" id="{7CB50F23-B67A-43E6-83FE-8237A51634DB}"/>
              </a:ext>
            </a:extLst>
          </p:cNvPr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2147483647 w 2"/>
              <a:gd name="T3" fmla="*/ 0 h 1587"/>
              <a:gd name="T4" fmla="*/ 2147483647 w 2"/>
              <a:gd name="T5" fmla="*/ 0 h 1587"/>
              <a:gd name="T6" fmla="*/ 2147483647 w 2"/>
              <a:gd name="T7" fmla="*/ 0 h 1587"/>
              <a:gd name="T8" fmla="*/ 2147483647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2147483647 w 2"/>
              <a:gd name="T19" fmla="*/ 0 h 1587"/>
              <a:gd name="T20" fmla="*/ 2147483647 w 2"/>
              <a:gd name="T21" fmla="*/ 0 h 1587"/>
              <a:gd name="T22" fmla="*/ 2147483647 w 2"/>
              <a:gd name="T23" fmla="*/ 0 h 1587"/>
              <a:gd name="T24" fmla="*/ 2147483647 w 2"/>
              <a:gd name="T25" fmla="*/ 0 h 1587"/>
              <a:gd name="T26" fmla="*/ 2147483647 w 2"/>
              <a:gd name="T27" fmla="*/ 0 h 1587"/>
              <a:gd name="T28" fmla="*/ 2147483647 w 2"/>
              <a:gd name="T29" fmla="*/ 0 h 1587"/>
              <a:gd name="T30" fmla="*/ 2147483647 w 2"/>
              <a:gd name="T31" fmla="*/ 0 h 1587"/>
              <a:gd name="T32" fmla="*/ 2147483647 w 2"/>
              <a:gd name="T33" fmla="*/ 0 h 1587"/>
              <a:gd name="T34" fmla="*/ 2147483647 w 2"/>
              <a:gd name="T35" fmla="*/ 0 h 1587"/>
              <a:gd name="T36" fmla="*/ 2147483647 w 2"/>
              <a:gd name="T37" fmla="*/ 0 h 1587"/>
              <a:gd name="T38" fmla="*/ 2147483647 w 2"/>
              <a:gd name="T39" fmla="*/ 0 h 1587"/>
              <a:gd name="T40" fmla="*/ 2147483647 w 2"/>
              <a:gd name="T41" fmla="*/ 0 h 1587"/>
              <a:gd name="T42" fmla="*/ 2147483647 w 2"/>
              <a:gd name="T43" fmla="*/ 0 h 1587"/>
              <a:gd name="T44" fmla="*/ 2147483647 w 2"/>
              <a:gd name="T45" fmla="*/ 0 h 1587"/>
              <a:gd name="T46" fmla="*/ 2147483647 w 2"/>
              <a:gd name="T47" fmla="*/ 0 h 1587"/>
              <a:gd name="T48" fmla="*/ 2147483647 w 2"/>
              <a:gd name="T49" fmla="*/ 0 h 1587"/>
              <a:gd name="T50" fmla="*/ 2147483647 w 2"/>
              <a:gd name="T51" fmla="*/ 0 h 1587"/>
              <a:gd name="T52" fmla="*/ 2147483647 w 2"/>
              <a:gd name="T53" fmla="*/ 0 h 1587"/>
              <a:gd name="T54" fmla="*/ 2147483647 w 2"/>
              <a:gd name="T55" fmla="*/ 0 h 1587"/>
              <a:gd name="T56" fmla="*/ 2147483647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0" name="Rectangle 1256">
            <a:extLst>
              <a:ext uri="{FF2B5EF4-FFF2-40B4-BE49-F238E27FC236}">
                <a16:creationId xmlns:a16="http://schemas.microsoft.com/office/drawing/2014/main" id="{EBCC7CB4-7B4A-4856-8CF9-FE498F15A99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111" name="Freeform 1258">
            <a:extLst>
              <a:ext uri="{FF2B5EF4-FFF2-40B4-BE49-F238E27FC236}">
                <a16:creationId xmlns:a16="http://schemas.microsoft.com/office/drawing/2014/main" id="{BC0D8EC9-402C-458F-9B3D-142AE4A5462E}"/>
              </a:ext>
            </a:extLst>
          </p:cNvPr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2" name="Freeform 1266">
            <a:extLst>
              <a:ext uri="{FF2B5EF4-FFF2-40B4-BE49-F238E27FC236}">
                <a16:creationId xmlns:a16="http://schemas.microsoft.com/office/drawing/2014/main" id="{41D9D3F6-860D-4FB2-AD14-7DC20EA7C6A0}"/>
              </a:ext>
            </a:extLst>
          </p:cNvPr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3" name="Freeform 1269">
            <a:extLst>
              <a:ext uri="{FF2B5EF4-FFF2-40B4-BE49-F238E27FC236}">
                <a16:creationId xmlns:a16="http://schemas.microsoft.com/office/drawing/2014/main" id="{4825CE13-8785-4085-A37B-1D18B8BA2748}"/>
              </a:ext>
            </a:extLst>
          </p:cNvPr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>
              <a:gd name="T0" fmla="*/ 0 w 2"/>
              <a:gd name="T1" fmla="*/ 2147483647 h 3"/>
              <a:gd name="T2" fmla="*/ 2147483647 w 2"/>
              <a:gd name="T3" fmla="*/ 0 h 3"/>
              <a:gd name="T4" fmla="*/ 2147483647 w 2"/>
              <a:gd name="T5" fmla="*/ 0 h 3"/>
              <a:gd name="T6" fmla="*/ 2147483647 w 2"/>
              <a:gd name="T7" fmla="*/ 0 h 3"/>
              <a:gd name="T8" fmla="*/ 2147483647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2147483647 h 3"/>
              <a:gd name="T16" fmla="*/ 0 w 2"/>
              <a:gd name="T17" fmla="*/ 2147483647 h 3"/>
              <a:gd name="T18" fmla="*/ 2147483647 w 2"/>
              <a:gd name="T19" fmla="*/ 0 h 3"/>
              <a:gd name="T20" fmla="*/ 2147483647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2147483647 h 3"/>
              <a:gd name="T40" fmla="*/ 0 w 2"/>
              <a:gd name="T41" fmla="*/ 2147483647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4" name="Line 1270">
            <a:extLst>
              <a:ext uri="{FF2B5EF4-FFF2-40B4-BE49-F238E27FC236}">
                <a16:creationId xmlns:a16="http://schemas.microsoft.com/office/drawing/2014/main" id="{3710C93C-C05D-42DC-A957-7C5DC980D46A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5" name="Line 1271">
            <a:extLst>
              <a:ext uri="{FF2B5EF4-FFF2-40B4-BE49-F238E27FC236}">
                <a16:creationId xmlns:a16="http://schemas.microsoft.com/office/drawing/2014/main" id="{5F993EA7-E2A3-4456-A2E5-B4837BDA5178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6" name="Rectangle 1272">
            <a:extLst>
              <a:ext uri="{FF2B5EF4-FFF2-40B4-BE49-F238E27FC236}">
                <a16:creationId xmlns:a16="http://schemas.microsoft.com/office/drawing/2014/main" id="{74723A15-4FE7-4086-B308-767C163CD9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117" name="Rectangle 1273">
            <a:extLst>
              <a:ext uri="{FF2B5EF4-FFF2-40B4-BE49-F238E27FC236}">
                <a16:creationId xmlns:a16="http://schemas.microsoft.com/office/drawing/2014/main" id="{0A4A6AFC-5CBA-4C34-9450-909706E848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118" name="Line 1274">
            <a:extLst>
              <a:ext uri="{FF2B5EF4-FFF2-40B4-BE49-F238E27FC236}">
                <a16:creationId xmlns:a16="http://schemas.microsoft.com/office/drawing/2014/main" id="{64A1271F-83F9-4E1A-B484-388153E8B2A4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9" name="Line 1275">
            <a:extLst>
              <a:ext uri="{FF2B5EF4-FFF2-40B4-BE49-F238E27FC236}">
                <a16:creationId xmlns:a16="http://schemas.microsoft.com/office/drawing/2014/main" id="{34F67DE2-D81A-442F-8284-478EE3AFB69F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0" name="Freeform 1277">
            <a:extLst>
              <a:ext uri="{FF2B5EF4-FFF2-40B4-BE49-F238E27FC236}">
                <a16:creationId xmlns:a16="http://schemas.microsoft.com/office/drawing/2014/main" id="{50BCEB9C-9ADE-4FB4-84D2-D43E3CA020D0}"/>
              </a:ext>
            </a:extLst>
          </p:cNvPr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>
              <a:gd name="T0" fmla="*/ 0 w 1587"/>
              <a:gd name="T1" fmla="*/ 2147483647 h 2"/>
              <a:gd name="T2" fmla="*/ 0 w 1587"/>
              <a:gd name="T3" fmla="*/ 2147483647 h 2"/>
              <a:gd name="T4" fmla="*/ 0 w 1587"/>
              <a:gd name="T5" fmla="*/ 0 h 2"/>
              <a:gd name="T6" fmla="*/ 0 w 1587"/>
              <a:gd name="T7" fmla="*/ 2147483647 h 2"/>
              <a:gd name="T8" fmla="*/ 0 w 1587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1" name="Freeform 1287">
            <a:extLst>
              <a:ext uri="{FF2B5EF4-FFF2-40B4-BE49-F238E27FC236}">
                <a16:creationId xmlns:a16="http://schemas.microsoft.com/office/drawing/2014/main" id="{0C01A04C-46E3-4CA9-B136-3AD4C8526B34}"/>
              </a:ext>
            </a:extLst>
          </p:cNvPr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2147483647 h 2"/>
              <a:gd name="T4" fmla="*/ 2147483647 w 2"/>
              <a:gd name="T5" fmla="*/ 2147483647 h 2"/>
              <a:gd name="T6" fmla="*/ 2147483647 w 2"/>
              <a:gd name="T7" fmla="*/ 2147483647 h 2"/>
              <a:gd name="T8" fmla="*/ 2147483647 w 2"/>
              <a:gd name="T9" fmla="*/ 2147483647 h 2"/>
              <a:gd name="T10" fmla="*/ 2147483647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2147483647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2147483647 w 2"/>
              <a:gd name="T25" fmla="*/ 2147483647 h 2"/>
              <a:gd name="T26" fmla="*/ 2147483647 w 2"/>
              <a:gd name="T27" fmla="*/ 2147483647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2" name="Freeform 1290">
            <a:extLst>
              <a:ext uri="{FF2B5EF4-FFF2-40B4-BE49-F238E27FC236}">
                <a16:creationId xmlns:a16="http://schemas.microsoft.com/office/drawing/2014/main" id="{B8A5F8A8-B194-45B0-A9E8-70AE0481A9A6}"/>
              </a:ext>
            </a:extLst>
          </p:cNvPr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2147483647 h 2"/>
              <a:gd name="T6" fmla="*/ 2147483647 w 2"/>
              <a:gd name="T7" fmla="*/ 2147483647 h 2"/>
              <a:gd name="T8" fmla="*/ 2147483647 w 2"/>
              <a:gd name="T9" fmla="*/ 2147483647 h 2"/>
              <a:gd name="T10" fmla="*/ 2147483647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2147483647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2147483647 h 2"/>
              <a:gd name="T50" fmla="*/ 2147483647 w 2"/>
              <a:gd name="T51" fmla="*/ 2147483647 h 2"/>
              <a:gd name="T52" fmla="*/ 2147483647 w 2"/>
              <a:gd name="T53" fmla="*/ 0 h 2"/>
              <a:gd name="T54" fmla="*/ 2147483647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2147483647 h 2"/>
              <a:gd name="T62" fmla="*/ 0 w 2"/>
              <a:gd name="T63" fmla="*/ 2147483647 h 2"/>
              <a:gd name="T64" fmla="*/ 2147483647 w 2"/>
              <a:gd name="T65" fmla="*/ 2147483647 h 2"/>
              <a:gd name="T66" fmla="*/ 2147483647 w 2"/>
              <a:gd name="T67" fmla="*/ 2147483647 h 2"/>
              <a:gd name="T68" fmla="*/ 0 w 2"/>
              <a:gd name="T69" fmla="*/ 2147483647 h 2"/>
              <a:gd name="T70" fmla="*/ 0 w 2"/>
              <a:gd name="T71" fmla="*/ 2147483647 h 2"/>
              <a:gd name="T72" fmla="*/ 0 w 2"/>
              <a:gd name="T73" fmla="*/ 2147483647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3" name="Rectangle 1335">
            <a:extLst>
              <a:ext uri="{FF2B5EF4-FFF2-40B4-BE49-F238E27FC236}">
                <a16:creationId xmlns:a16="http://schemas.microsoft.com/office/drawing/2014/main" id="{3BA78006-D01A-4B17-A59B-8F3C2DDDD0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124" name="Rectangle 1336">
            <a:extLst>
              <a:ext uri="{FF2B5EF4-FFF2-40B4-BE49-F238E27FC236}">
                <a16:creationId xmlns:a16="http://schemas.microsoft.com/office/drawing/2014/main" id="{B5EDB39B-F85C-48BF-8518-92590913DB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125" name="Rectangle 1337">
            <a:extLst>
              <a:ext uri="{FF2B5EF4-FFF2-40B4-BE49-F238E27FC236}">
                <a16:creationId xmlns:a16="http://schemas.microsoft.com/office/drawing/2014/main" id="{AEB793CE-F646-4BF6-9D40-7E63462D2D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126" name="Rectangle 1340">
            <a:extLst>
              <a:ext uri="{FF2B5EF4-FFF2-40B4-BE49-F238E27FC236}">
                <a16:creationId xmlns:a16="http://schemas.microsoft.com/office/drawing/2014/main" id="{E9311476-55AD-4B7F-B714-0A70788B19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127" name="Rectangle 1341">
            <a:extLst>
              <a:ext uri="{FF2B5EF4-FFF2-40B4-BE49-F238E27FC236}">
                <a16:creationId xmlns:a16="http://schemas.microsoft.com/office/drawing/2014/main" id="{DCA3F208-A0E6-4ED7-8927-D46B7558AD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128" name="Rectangle 1342">
            <a:extLst>
              <a:ext uri="{FF2B5EF4-FFF2-40B4-BE49-F238E27FC236}">
                <a16:creationId xmlns:a16="http://schemas.microsoft.com/office/drawing/2014/main" id="{8F556CCB-ED3C-426A-9751-06CB55FF5D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129" name="Rectangle 1343">
            <a:extLst>
              <a:ext uri="{FF2B5EF4-FFF2-40B4-BE49-F238E27FC236}">
                <a16:creationId xmlns:a16="http://schemas.microsoft.com/office/drawing/2014/main" id="{6C9DAFE8-FADA-4582-8642-15181C5AF0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130" name="Rectangle 1344">
            <a:extLst>
              <a:ext uri="{FF2B5EF4-FFF2-40B4-BE49-F238E27FC236}">
                <a16:creationId xmlns:a16="http://schemas.microsoft.com/office/drawing/2014/main" id="{DA308D48-9CCF-454E-9A08-7E466A9386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170" name="ClipArt Placeholder 9"/>
          <p:cNvSpPr>
            <a:spLocks noGrp="1"/>
          </p:cNvSpPr>
          <p:nvPr>
            <p:ph type="clipArt" sz="quarter" idx="49"/>
          </p:nvPr>
        </p:nvSpPr>
        <p:spPr>
          <a:xfrm>
            <a:off x="341834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</a:p>
        </p:txBody>
      </p:sp>
      <p:sp>
        <p:nvSpPr>
          <p:cNvPr id="177" name="ClipArt Placeholder 9"/>
          <p:cNvSpPr>
            <a:spLocks noGrp="1"/>
          </p:cNvSpPr>
          <p:nvPr>
            <p:ph type="clipArt" sz="quarter" idx="56"/>
          </p:nvPr>
        </p:nvSpPr>
        <p:spPr>
          <a:xfrm>
            <a:off x="2093047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</a:p>
        </p:txBody>
      </p:sp>
      <p:sp>
        <p:nvSpPr>
          <p:cNvPr id="184" name="ClipArt Placeholder 9"/>
          <p:cNvSpPr>
            <a:spLocks noGrp="1"/>
          </p:cNvSpPr>
          <p:nvPr>
            <p:ph type="clipArt" sz="quarter" idx="63"/>
          </p:nvPr>
        </p:nvSpPr>
        <p:spPr>
          <a:xfrm>
            <a:off x="3844259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</a:p>
        </p:txBody>
      </p:sp>
      <p:sp>
        <p:nvSpPr>
          <p:cNvPr id="191" name="ClipArt Placeholder 9"/>
          <p:cNvSpPr>
            <a:spLocks noGrp="1"/>
          </p:cNvSpPr>
          <p:nvPr>
            <p:ph type="clipArt" sz="quarter" idx="70"/>
          </p:nvPr>
        </p:nvSpPr>
        <p:spPr>
          <a:xfrm>
            <a:off x="5595471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</a:p>
        </p:txBody>
      </p:sp>
      <p:sp>
        <p:nvSpPr>
          <p:cNvPr id="198" name="ClipArt Placeholder 9"/>
          <p:cNvSpPr>
            <a:spLocks noGrp="1"/>
          </p:cNvSpPr>
          <p:nvPr>
            <p:ph type="clipArt" sz="quarter" idx="77"/>
          </p:nvPr>
        </p:nvSpPr>
        <p:spPr>
          <a:xfrm>
            <a:off x="7346684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</a:p>
        </p:txBody>
      </p:sp>
      <p:sp>
        <p:nvSpPr>
          <p:cNvPr id="324" name="Title 323"/>
          <p:cNvSpPr>
            <a:spLocks noGrp="1"/>
          </p:cNvSpPr>
          <p:nvPr>
            <p:ph type="title"/>
          </p:nvPr>
        </p:nvSpPr>
        <p:spPr>
          <a:xfrm>
            <a:off x="343401" y="301625"/>
            <a:ext cx="8439652" cy="668193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1" name="Text Placeholder 2"/>
          <p:cNvSpPr>
            <a:spLocks noGrp="1"/>
          </p:cNvSpPr>
          <p:nvPr>
            <p:ph type="body" sz="quarter" idx="50"/>
          </p:nvPr>
        </p:nvSpPr>
        <p:spPr>
          <a:xfrm>
            <a:off x="603491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2" name="Picture Placeholder 4"/>
          <p:cNvSpPr>
            <a:spLocks noGrp="1"/>
          </p:cNvSpPr>
          <p:nvPr>
            <p:ph type="pic" sz="quarter" idx="51"/>
          </p:nvPr>
        </p:nvSpPr>
        <p:spPr>
          <a:xfrm>
            <a:off x="476491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173" name="Text Placeholder 2"/>
          <p:cNvSpPr>
            <a:spLocks noGrp="1"/>
          </p:cNvSpPr>
          <p:nvPr>
            <p:ph type="body" sz="quarter" idx="52"/>
          </p:nvPr>
        </p:nvSpPr>
        <p:spPr>
          <a:xfrm>
            <a:off x="465099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4" name="Text Placeholder 2"/>
          <p:cNvSpPr>
            <a:spLocks noGrp="1"/>
          </p:cNvSpPr>
          <p:nvPr>
            <p:ph type="body" sz="quarter" idx="53"/>
          </p:nvPr>
        </p:nvSpPr>
        <p:spPr>
          <a:xfrm>
            <a:off x="465099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5" name="Text Placeholder 2"/>
          <p:cNvSpPr>
            <a:spLocks noGrp="1"/>
          </p:cNvSpPr>
          <p:nvPr>
            <p:ph type="body" sz="quarter" idx="54"/>
          </p:nvPr>
        </p:nvSpPr>
        <p:spPr>
          <a:xfrm>
            <a:off x="465099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6" name="Text Placeholder 2"/>
          <p:cNvSpPr>
            <a:spLocks noGrp="1"/>
          </p:cNvSpPr>
          <p:nvPr>
            <p:ph type="body" sz="quarter" idx="55"/>
          </p:nvPr>
        </p:nvSpPr>
        <p:spPr>
          <a:xfrm>
            <a:off x="465099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8" name="Text Placeholder 2"/>
          <p:cNvSpPr>
            <a:spLocks noGrp="1"/>
          </p:cNvSpPr>
          <p:nvPr>
            <p:ph type="body" sz="quarter" idx="57"/>
          </p:nvPr>
        </p:nvSpPr>
        <p:spPr>
          <a:xfrm>
            <a:off x="2321508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9" name="Picture Placeholder 4"/>
          <p:cNvSpPr>
            <a:spLocks noGrp="1"/>
          </p:cNvSpPr>
          <p:nvPr>
            <p:ph type="pic" sz="quarter" idx="58"/>
          </p:nvPr>
        </p:nvSpPr>
        <p:spPr>
          <a:xfrm>
            <a:off x="2194508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180" name="Text Placeholder 2"/>
          <p:cNvSpPr>
            <a:spLocks noGrp="1"/>
          </p:cNvSpPr>
          <p:nvPr>
            <p:ph type="body" sz="quarter" idx="59"/>
          </p:nvPr>
        </p:nvSpPr>
        <p:spPr>
          <a:xfrm>
            <a:off x="2183116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1" name="Text Placeholder 2"/>
          <p:cNvSpPr>
            <a:spLocks noGrp="1"/>
          </p:cNvSpPr>
          <p:nvPr>
            <p:ph type="body" sz="quarter" idx="60"/>
          </p:nvPr>
        </p:nvSpPr>
        <p:spPr>
          <a:xfrm>
            <a:off x="2183116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2" name="Text Placeholder 2"/>
          <p:cNvSpPr>
            <a:spLocks noGrp="1"/>
          </p:cNvSpPr>
          <p:nvPr>
            <p:ph type="body" sz="quarter" idx="61"/>
          </p:nvPr>
        </p:nvSpPr>
        <p:spPr>
          <a:xfrm>
            <a:off x="2183116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3" name="Text Placeholder 2"/>
          <p:cNvSpPr>
            <a:spLocks noGrp="1"/>
          </p:cNvSpPr>
          <p:nvPr>
            <p:ph type="body" sz="quarter" idx="62"/>
          </p:nvPr>
        </p:nvSpPr>
        <p:spPr>
          <a:xfrm>
            <a:off x="2183116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5" name="Text Placeholder 2"/>
          <p:cNvSpPr>
            <a:spLocks noGrp="1"/>
          </p:cNvSpPr>
          <p:nvPr>
            <p:ph type="body" sz="quarter" idx="64"/>
          </p:nvPr>
        </p:nvSpPr>
        <p:spPr>
          <a:xfrm>
            <a:off x="4101439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6" name="Picture Placeholder 4"/>
          <p:cNvSpPr>
            <a:spLocks noGrp="1"/>
          </p:cNvSpPr>
          <p:nvPr>
            <p:ph type="pic" sz="quarter" idx="65"/>
          </p:nvPr>
        </p:nvSpPr>
        <p:spPr>
          <a:xfrm>
            <a:off x="3974439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187" name="Text Placeholder 2"/>
          <p:cNvSpPr>
            <a:spLocks noGrp="1"/>
          </p:cNvSpPr>
          <p:nvPr>
            <p:ph type="body" sz="quarter" idx="66"/>
          </p:nvPr>
        </p:nvSpPr>
        <p:spPr>
          <a:xfrm>
            <a:off x="3963047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8" name="Text Placeholder 2"/>
          <p:cNvSpPr>
            <a:spLocks noGrp="1"/>
          </p:cNvSpPr>
          <p:nvPr>
            <p:ph type="body" sz="quarter" idx="67"/>
          </p:nvPr>
        </p:nvSpPr>
        <p:spPr>
          <a:xfrm>
            <a:off x="3963047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9" name="Text Placeholder 2"/>
          <p:cNvSpPr>
            <a:spLocks noGrp="1"/>
          </p:cNvSpPr>
          <p:nvPr>
            <p:ph type="body" sz="quarter" idx="68"/>
          </p:nvPr>
        </p:nvSpPr>
        <p:spPr>
          <a:xfrm>
            <a:off x="3963047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0" name="Text Placeholder 2"/>
          <p:cNvSpPr>
            <a:spLocks noGrp="1"/>
          </p:cNvSpPr>
          <p:nvPr>
            <p:ph type="body" sz="quarter" idx="69"/>
          </p:nvPr>
        </p:nvSpPr>
        <p:spPr>
          <a:xfrm>
            <a:off x="3963047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2" name="Text Placeholder 2"/>
          <p:cNvSpPr>
            <a:spLocks noGrp="1"/>
          </p:cNvSpPr>
          <p:nvPr>
            <p:ph type="body" sz="quarter" idx="71"/>
          </p:nvPr>
        </p:nvSpPr>
        <p:spPr>
          <a:xfrm>
            <a:off x="5863108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3" name="Picture Placeholder 4"/>
          <p:cNvSpPr>
            <a:spLocks noGrp="1"/>
          </p:cNvSpPr>
          <p:nvPr>
            <p:ph type="pic" sz="quarter" idx="72"/>
          </p:nvPr>
        </p:nvSpPr>
        <p:spPr>
          <a:xfrm>
            <a:off x="5736108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194" name="Text Placeholder 2"/>
          <p:cNvSpPr>
            <a:spLocks noGrp="1"/>
          </p:cNvSpPr>
          <p:nvPr>
            <p:ph type="body" sz="quarter" idx="73"/>
          </p:nvPr>
        </p:nvSpPr>
        <p:spPr>
          <a:xfrm>
            <a:off x="5724716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5" name="Text Placeholder 2"/>
          <p:cNvSpPr>
            <a:spLocks noGrp="1"/>
          </p:cNvSpPr>
          <p:nvPr>
            <p:ph type="body" sz="quarter" idx="74"/>
          </p:nvPr>
        </p:nvSpPr>
        <p:spPr>
          <a:xfrm>
            <a:off x="5724716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6" name="Text Placeholder 2"/>
          <p:cNvSpPr>
            <a:spLocks noGrp="1"/>
          </p:cNvSpPr>
          <p:nvPr>
            <p:ph type="body" sz="quarter" idx="75"/>
          </p:nvPr>
        </p:nvSpPr>
        <p:spPr>
          <a:xfrm>
            <a:off x="5724716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7" name="Text Placeholder 2"/>
          <p:cNvSpPr>
            <a:spLocks noGrp="1"/>
          </p:cNvSpPr>
          <p:nvPr>
            <p:ph type="body" sz="quarter" idx="76"/>
          </p:nvPr>
        </p:nvSpPr>
        <p:spPr>
          <a:xfrm>
            <a:off x="5724716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9" name="Text Placeholder 2"/>
          <p:cNvSpPr>
            <a:spLocks noGrp="1"/>
          </p:cNvSpPr>
          <p:nvPr>
            <p:ph type="body" sz="quarter" idx="78"/>
          </p:nvPr>
        </p:nvSpPr>
        <p:spPr>
          <a:xfrm>
            <a:off x="7636461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0" name="Picture Placeholder 4"/>
          <p:cNvSpPr>
            <a:spLocks noGrp="1"/>
          </p:cNvSpPr>
          <p:nvPr>
            <p:ph type="pic" sz="quarter" idx="79"/>
          </p:nvPr>
        </p:nvSpPr>
        <p:spPr>
          <a:xfrm>
            <a:off x="7509461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201" name="Text Placeholder 2"/>
          <p:cNvSpPr>
            <a:spLocks noGrp="1"/>
          </p:cNvSpPr>
          <p:nvPr>
            <p:ph type="body" sz="quarter" idx="80"/>
          </p:nvPr>
        </p:nvSpPr>
        <p:spPr>
          <a:xfrm>
            <a:off x="7498069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2" name="Text Placeholder 2"/>
          <p:cNvSpPr>
            <a:spLocks noGrp="1"/>
          </p:cNvSpPr>
          <p:nvPr>
            <p:ph type="body" sz="quarter" idx="81"/>
          </p:nvPr>
        </p:nvSpPr>
        <p:spPr>
          <a:xfrm>
            <a:off x="7498069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3" name="Text Placeholder 2"/>
          <p:cNvSpPr>
            <a:spLocks noGrp="1"/>
          </p:cNvSpPr>
          <p:nvPr>
            <p:ph type="body" sz="quarter" idx="82"/>
          </p:nvPr>
        </p:nvSpPr>
        <p:spPr>
          <a:xfrm>
            <a:off x="7498069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4" name="Text Placeholder 2"/>
          <p:cNvSpPr>
            <a:spLocks noGrp="1"/>
          </p:cNvSpPr>
          <p:nvPr>
            <p:ph type="body" sz="quarter" idx="83"/>
          </p:nvPr>
        </p:nvSpPr>
        <p:spPr>
          <a:xfrm>
            <a:off x="7498069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5" name="ClipArt Placeholder 9"/>
          <p:cNvSpPr>
            <a:spLocks noGrp="1"/>
          </p:cNvSpPr>
          <p:nvPr>
            <p:ph type="clipArt" sz="quarter" idx="84"/>
          </p:nvPr>
        </p:nvSpPr>
        <p:spPr>
          <a:xfrm>
            <a:off x="349091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</a:p>
        </p:txBody>
      </p:sp>
      <p:sp>
        <p:nvSpPr>
          <p:cNvPr id="206" name="ClipArt Placeholder 9"/>
          <p:cNvSpPr>
            <a:spLocks noGrp="1"/>
          </p:cNvSpPr>
          <p:nvPr>
            <p:ph type="clipArt" sz="quarter" idx="85"/>
          </p:nvPr>
        </p:nvSpPr>
        <p:spPr>
          <a:xfrm>
            <a:off x="2100304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</a:p>
        </p:txBody>
      </p:sp>
      <p:sp>
        <p:nvSpPr>
          <p:cNvPr id="207" name="ClipArt Placeholder 9"/>
          <p:cNvSpPr>
            <a:spLocks noGrp="1"/>
          </p:cNvSpPr>
          <p:nvPr>
            <p:ph type="clipArt" sz="quarter" idx="86"/>
          </p:nvPr>
        </p:nvSpPr>
        <p:spPr>
          <a:xfrm>
            <a:off x="3851516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</a:p>
        </p:txBody>
      </p:sp>
      <p:sp>
        <p:nvSpPr>
          <p:cNvPr id="208" name="ClipArt Placeholder 9"/>
          <p:cNvSpPr>
            <a:spLocks noGrp="1"/>
          </p:cNvSpPr>
          <p:nvPr>
            <p:ph type="clipArt" sz="quarter" idx="87"/>
          </p:nvPr>
        </p:nvSpPr>
        <p:spPr>
          <a:xfrm>
            <a:off x="5602728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</a:p>
        </p:txBody>
      </p:sp>
      <p:sp>
        <p:nvSpPr>
          <p:cNvPr id="209" name="ClipArt Placeholder 9"/>
          <p:cNvSpPr>
            <a:spLocks noGrp="1"/>
          </p:cNvSpPr>
          <p:nvPr>
            <p:ph type="clipArt" sz="quarter" idx="88"/>
          </p:nvPr>
        </p:nvSpPr>
        <p:spPr>
          <a:xfrm>
            <a:off x="7353941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</a:p>
        </p:txBody>
      </p:sp>
      <p:sp>
        <p:nvSpPr>
          <p:cNvPr id="210" name="Text Placeholder 2"/>
          <p:cNvSpPr>
            <a:spLocks noGrp="1"/>
          </p:cNvSpPr>
          <p:nvPr>
            <p:ph type="body" sz="quarter" idx="89"/>
          </p:nvPr>
        </p:nvSpPr>
        <p:spPr>
          <a:xfrm>
            <a:off x="610748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1" name="Picture Placeholder 4"/>
          <p:cNvSpPr>
            <a:spLocks noGrp="1"/>
          </p:cNvSpPr>
          <p:nvPr>
            <p:ph type="pic" sz="quarter" idx="90"/>
          </p:nvPr>
        </p:nvSpPr>
        <p:spPr>
          <a:xfrm>
            <a:off x="483748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212" name="Text Placeholder 2"/>
          <p:cNvSpPr>
            <a:spLocks noGrp="1"/>
          </p:cNvSpPr>
          <p:nvPr>
            <p:ph type="body" sz="quarter" idx="91"/>
          </p:nvPr>
        </p:nvSpPr>
        <p:spPr>
          <a:xfrm>
            <a:off x="472356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3" name="Text Placeholder 2"/>
          <p:cNvSpPr>
            <a:spLocks noGrp="1"/>
          </p:cNvSpPr>
          <p:nvPr>
            <p:ph type="body" sz="quarter" idx="92"/>
          </p:nvPr>
        </p:nvSpPr>
        <p:spPr>
          <a:xfrm>
            <a:off x="472356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4" name="Text Placeholder 2"/>
          <p:cNvSpPr>
            <a:spLocks noGrp="1"/>
          </p:cNvSpPr>
          <p:nvPr>
            <p:ph type="body" sz="quarter" idx="93"/>
          </p:nvPr>
        </p:nvSpPr>
        <p:spPr>
          <a:xfrm>
            <a:off x="472356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5" name="Text Placeholder 2"/>
          <p:cNvSpPr>
            <a:spLocks noGrp="1"/>
          </p:cNvSpPr>
          <p:nvPr>
            <p:ph type="body" sz="quarter" idx="94"/>
          </p:nvPr>
        </p:nvSpPr>
        <p:spPr>
          <a:xfrm>
            <a:off x="472356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6" name="Text Placeholder 2"/>
          <p:cNvSpPr>
            <a:spLocks noGrp="1"/>
          </p:cNvSpPr>
          <p:nvPr>
            <p:ph type="body" sz="quarter" idx="95"/>
          </p:nvPr>
        </p:nvSpPr>
        <p:spPr>
          <a:xfrm>
            <a:off x="2328765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7" name="Picture Placeholder 4"/>
          <p:cNvSpPr>
            <a:spLocks noGrp="1"/>
          </p:cNvSpPr>
          <p:nvPr>
            <p:ph type="pic" sz="quarter" idx="96"/>
          </p:nvPr>
        </p:nvSpPr>
        <p:spPr>
          <a:xfrm>
            <a:off x="2201765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218" name="Text Placeholder 2"/>
          <p:cNvSpPr>
            <a:spLocks noGrp="1"/>
          </p:cNvSpPr>
          <p:nvPr>
            <p:ph type="body" sz="quarter" idx="97"/>
          </p:nvPr>
        </p:nvSpPr>
        <p:spPr>
          <a:xfrm>
            <a:off x="2190373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9" name="Text Placeholder 2"/>
          <p:cNvSpPr>
            <a:spLocks noGrp="1"/>
          </p:cNvSpPr>
          <p:nvPr>
            <p:ph type="body" sz="quarter" idx="98"/>
          </p:nvPr>
        </p:nvSpPr>
        <p:spPr>
          <a:xfrm>
            <a:off x="2190373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0" name="Text Placeholder 2"/>
          <p:cNvSpPr>
            <a:spLocks noGrp="1"/>
          </p:cNvSpPr>
          <p:nvPr>
            <p:ph type="body" sz="quarter" idx="99"/>
          </p:nvPr>
        </p:nvSpPr>
        <p:spPr>
          <a:xfrm>
            <a:off x="2190373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1" name="Text Placeholder 2"/>
          <p:cNvSpPr>
            <a:spLocks noGrp="1"/>
          </p:cNvSpPr>
          <p:nvPr>
            <p:ph type="body" sz="quarter" idx="100"/>
          </p:nvPr>
        </p:nvSpPr>
        <p:spPr>
          <a:xfrm>
            <a:off x="2190373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2" name="Text Placeholder 2"/>
          <p:cNvSpPr>
            <a:spLocks noGrp="1"/>
          </p:cNvSpPr>
          <p:nvPr>
            <p:ph type="body" sz="quarter" idx="101"/>
          </p:nvPr>
        </p:nvSpPr>
        <p:spPr>
          <a:xfrm>
            <a:off x="4108696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3" name="Picture Placeholder 4"/>
          <p:cNvSpPr>
            <a:spLocks noGrp="1"/>
          </p:cNvSpPr>
          <p:nvPr>
            <p:ph type="pic" sz="quarter" idx="102"/>
          </p:nvPr>
        </p:nvSpPr>
        <p:spPr>
          <a:xfrm>
            <a:off x="3981696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224" name="Text Placeholder 2"/>
          <p:cNvSpPr>
            <a:spLocks noGrp="1"/>
          </p:cNvSpPr>
          <p:nvPr>
            <p:ph type="body" sz="quarter" idx="103"/>
          </p:nvPr>
        </p:nvSpPr>
        <p:spPr>
          <a:xfrm>
            <a:off x="3970304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5" name="Text Placeholder 2"/>
          <p:cNvSpPr>
            <a:spLocks noGrp="1"/>
          </p:cNvSpPr>
          <p:nvPr>
            <p:ph type="body" sz="quarter" idx="104"/>
          </p:nvPr>
        </p:nvSpPr>
        <p:spPr>
          <a:xfrm>
            <a:off x="3970304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6" name="Text Placeholder 2"/>
          <p:cNvSpPr>
            <a:spLocks noGrp="1"/>
          </p:cNvSpPr>
          <p:nvPr>
            <p:ph type="body" sz="quarter" idx="105"/>
          </p:nvPr>
        </p:nvSpPr>
        <p:spPr>
          <a:xfrm>
            <a:off x="3970304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7" name="Text Placeholder 2"/>
          <p:cNvSpPr>
            <a:spLocks noGrp="1"/>
          </p:cNvSpPr>
          <p:nvPr>
            <p:ph type="body" sz="quarter" idx="106"/>
          </p:nvPr>
        </p:nvSpPr>
        <p:spPr>
          <a:xfrm>
            <a:off x="3970304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8" name="Text Placeholder 2"/>
          <p:cNvSpPr>
            <a:spLocks noGrp="1"/>
          </p:cNvSpPr>
          <p:nvPr>
            <p:ph type="body" sz="quarter" idx="107"/>
          </p:nvPr>
        </p:nvSpPr>
        <p:spPr>
          <a:xfrm>
            <a:off x="5870365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9" name="Picture Placeholder 4"/>
          <p:cNvSpPr>
            <a:spLocks noGrp="1"/>
          </p:cNvSpPr>
          <p:nvPr>
            <p:ph type="pic" sz="quarter" idx="108"/>
          </p:nvPr>
        </p:nvSpPr>
        <p:spPr>
          <a:xfrm>
            <a:off x="5743365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230" name="Text Placeholder 2"/>
          <p:cNvSpPr>
            <a:spLocks noGrp="1"/>
          </p:cNvSpPr>
          <p:nvPr>
            <p:ph type="body" sz="quarter" idx="109"/>
          </p:nvPr>
        </p:nvSpPr>
        <p:spPr>
          <a:xfrm>
            <a:off x="5731973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1" name="Text Placeholder 2"/>
          <p:cNvSpPr>
            <a:spLocks noGrp="1"/>
          </p:cNvSpPr>
          <p:nvPr>
            <p:ph type="body" sz="quarter" idx="110"/>
          </p:nvPr>
        </p:nvSpPr>
        <p:spPr>
          <a:xfrm>
            <a:off x="5731973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2" name="Text Placeholder 2"/>
          <p:cNvSpPr>
            <a:spLocks noGrp="1"/>
          </p:cNvSpPr>
          <p:nvPr>
            <p:ph type="body" sz="quarter" idx="111"/>
          </p:nvPr>
        </p:nvSpPr>
        <p:spPr>
          <a:xfrm>
            <a:off x="5731973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3" name="Text Placeholder 2"/>
          <p:cNvSpPr>
            <a:spLocks noGrp="1"/>
          </p:cNvSpPr>
          <p:nvPr>
            <p:ph type="body" sz="quarter" idx="112"/>
          </p:nvPr>
        </p:nvSpPr>
        <p:spPr>
          <a:xfrm>
            <a:off x="5731973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4" name="Text Placeholder 2"/>
          <p:cNvSpPr>
            <a:spLocks noGrp="1"/>
          </p:cNvSpPr>
          <p:nvPr>
            <p:ph type="body" sz="quarter" idx="113"/>
          </p:nvPr>
        </p:nvSpPr>
        <p:spPr>
          <a:xfrm>
            <a:off x="7643718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5" name="Picture Placeholder 4"/>
          <p:cNvSpPr>
            <a:spLocks noGrp="1"/>
          </p:cNvSpPr>
          <p:nvPr>
            <p:ph type="pic" sz="quarter" idx="114"/>
          </p:nvPr>
        </p:nvSpPr>
        <p:spPr>
          <a:xfrm>
            <a:off x="7516718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236" name="Text Placeholder 2"/>
          <p:cNvSpPr>
            <a:spLocks noGrp="1"/>
          </p:cNvSpPr>
          <p:nvPr>
            <p:ph type="body" sz="quarter" idx="115"/>
          </p:nvPr>
        </p:nvSpPr>
        <p:spPr>
          <a:xfrm>
            <a:off x="7505326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7" name="Text Placeholder 2"/>
          <p:cNvSpPr>
            <a:spLocks noGrp="1"/>
          </p:cNvSpPr>
          <p:nvPr>
            <p:ph type="body" sz="quarter" idx="116"/>
          </p:nvPr>
        </p:nvSpPr>
        <p:spPr>
          <a:xfrm>
            <a:off x="7505326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8" name="Text Placeholder 2"/>
          <p:cNvSpPr>
            <a:spLocks noGrp="1"/>
          </p:cNvSpPr>
          <p:nvPr>
            <p:ph type="body" sz="quarter" idx="117"/>
          </p:nvPr>
        </p:nvSpPr>
        <p:spPr>
          <a:xfrm>
            <a:off x="7505326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9" name="Text Placeholder 2"/>
          <p:cNvSpPr>
            <a:spLocks noGrp="1"/>
          </p:cNvSpPr>
          <p:nvPr>
            <p:ph type="body" sz="quarter" idx="118"/>
          </p:nvPr>
        </p:nvSpPr>
        <p:spPr>
          <a:xfrm>
            <a:off x="7505326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1" name="Footer Placeholder 1">
            <a:extLst>
              <a:ext uri="{FF2B5EF4-FFF2-40B4-BE49-F238E27FC236}">
                <a16:creationId xmlns:a16="http://schemas.microsoft.com/office/drawing/2014/main" id="{2F36408E-D97D-41AB-9217-63C225FBC9D3}"/>
              </a:ext>
            </a:extLst>
          </p:cNvPr>
          <p:cNvSpPr>
            <a:spLocks noGrp="1"/>
          </p:cNvSpPr>
          <p:nvPr>
            <p:ph type="ftr" sz="quarter" idx="1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  <p:sp>
        <p:nvSpPr>
          <p:cNvPr id="132" name="Slide Number Placeholder 2">
            <a:extLst>
              <a:ext uri="{FF2B5EF4-FFF2-40B4-BE49-F238E27FC236}">
                <a16:creationId xmlns:a16="http://schemas.microsoft.com/office/drawing/2014/main" id="{DCC0DD18-CEEC-4D1A-A60A-80A20D2AF5F5}"/>
              </a:ext>
            </a:extLst>
          </p:cNvPr>
          <p:cNvSpPr>
            <a:spLocks noGrp="1"/>
          </p:cNvSpPr>
          <p:nvPr>
            <p:ph type="sldNum" sz="quarter" idx="120"/>
          </p:nvPr>
        </p:nvSpPr>
        <p:spPr/>
        <p:txBody>
          <a:bodyPr/>
          <a:lstStyle>
            <a:lvl1pPr>
              <a:defRPr/>
            </a:lvl1pPr>
          </a:lstStyle>
          <a:p>
            <a:fld id="{F4597838-7728-4AAF-87E8-5D0F245AC806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945124825"/>
      </p:ext>
    </p:extLst>
  </p:cSld>
  <p:clrMapOvr>
    <a:masterClrMapping/>
  </p:clrMapOvr>
  <p:hf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6136106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946316" y="4064001"/>
            <a:ext cx="3978929" cy="1751263"/>
          </a:xfrm>
        </p:spPr>
        <p:txBody>
          <a:bodyPr/>
          <a:lstStyle>
            <a:lvl1pPr>
              <a:defRPr sz="3000" b="0" i="0">
                <a:solidFill>
                  <a:schemeClr val="tx1"/>
                </a:solidFill>
                <a:effectLst/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0F8493E4-083F-452C-9089-53AE8FCAD7D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1274C3FF-4EC0-4CAD-A709-87FACD9BBF64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01EC90E8-E6A1-4A45-921A-67BA2F740C3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1215802079"/>
      </p:ext>
    </p:extLst>
  </p:cSld>
  <p:clrMapOvr>
    <a:masterClrMapping/>
  </p:clrMapOvr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777C7912-EB96-401D-AF7F-DBB229E34E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46513" y="5302250"/>
            <a:ext cx="5297487" cy="155575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6858000"/>
          </a:xfrm>
        </p:spPr>
        <p:txBody>
          <a:bodyPr/>
          <a:lstStyle>
            <a:lvl1pPr algn="ctr">
              <a:defRPr baseline="0"/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946316" y="3075216"/>
            <a:ext cx="3978929" cy="1950356"/>
          </a:xfrm>
        </p:spPr>
        <p:txBody>
          <a:bodyPr/>
          <a:lstStyle>
            <a:lvl1pPr>
              <a:defRPr sz="3000" b="0" i="0" baseline="0">
                <a:solidFill>
                  <a:schemeClr val="tx1"/>
                </a:solidFill>
                <a:effectLst/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86141086"/>
      </p:ext>
    </p:extLst>
  </p:cSld>
  <p:clrMapOvr>
    <a:masterClrMapping/>
  </p:clrMapOvr>
  <p:hf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349250" y="1132417"/>
            <a:ext cx="8445500" cy="5069416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604D2B3-5AE4-41BB-81A6-0FD43267284A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fld id="{36D094C0-0CCA-443B-92F0-214D25609459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DDFE140B-D48C-4542-AB7E-EC12FA7CAB7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3677689056"/>
      </p:ext>
    </p:extLst>
  </p:cSld>
  <p:clrMapOvr>
    <a:masterClrMapping/>
  </p:clrMapOvr>
  <p:hf hd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ha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349250" y="1147233"/>
            <a:ext cx="4159249" cy="504825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607983" y="1147233"/>
            <a:ext cx="4159249" cy="504825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4B7C38C3-4B3D-425C-972B-EBECB3DC56C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/>
            </a:lvl1pPr>
          </a:lstStyle>
          <a:p>
            <a:fld id="{E25FDD8F-20EA-408A-AE3F-0E374462DA19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B17A2802-7745-496B-8BC7-64A7D963FE3A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3327675959"/>
      </p:ext>
    </p:extLst>
  </p:cSld>
  <p:clrMapOvr>
    <a:masterClrMapping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AA1929D-CE20-47EC-8C98-5D6929AF4F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4311650"/>
            <a:ext cx="9144000" cy="176213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solidFill>
                <a:schemeClr val="bg2"/>
              </a:solidFill>
              <a:cs typeface="+mn-cs"/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1512623" y="1189789"/>
            <a:ext cx="6971806" cy="1822161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1525172" y="3000005"/>
            <a:ext cx="6959257" cy="87588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chemeClr val="tx1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9" name="Text Placeholder 331"/>
          <p:cNvSpPr>
            <a:spLocks noGrp="1"/>
          </p:cNvSpPr>
          <p:nvPr>
            <p:ph type="body" sz="quarter" idx="14"/>
          </p:nvPr>
        </p:nvSpPr>
        <p:spPr>
          <a:xfrm>
            <a:off x="5682073" y="4699001"/>
            <a:ext cx="2821170" cy="1393637"/>
          </a:xfrm>
        </p:spPr>
        <p:txBody>
          <a:bodyPr anchor="b"/>
          <a:lstStyle>
            <a:lvl1pPr algn="r">
              <a:lnSpc>
                <a:spcPct val="100000"/>
              </a:lnSpc>
              <a:defRPr sz="1400" b="0" i="0" baseline="0">
                <a:solidFill>
                  <a:schemeClr val="tx1"/>
                </a:solidFill>
                <a:latin typeface="+mn-lt"/>
                <a:cs typeface="Arial"/>
              </a:defRPr>
            </a:lvl1pPr>
            <a:lvl2pPr algn="r">
              <a:defRPr sz="1400" b="0" i="0">
                <a:latin typeface="+mn-l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0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508000" y="4699001"/>
            <a:ext cx="5058833" cy="1375832"/>
          </a:xfrm>
          <a:solidFill>
            <a:srgbClr val="FFFFFF"/>
          </a:solidFill>
        </p:spPr>
        <p:txBody>
          <a:bodyPr anchor="ctr">
            <a:normAutofit/>
          </a:bodyPr>
          <a:lstStyle>
            <a:lvl1pPr algn="ctr">
              <a:defRPr baseline="0">
                <a:solidFill>
                  <a:srgbClr val="021F43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7" name="Rectangle 1028">
            <a:extLst>
              <a:ext uri="{FF2B5EF4-FFF2-40B4-BE49-F238E27FC236}">
                <a16:creationId xmlns:a16="http://schemas.microsoft.com/office/drawing/2014/main" id="{9C126BA2-3BAB-4373-AE35-894C1318315B}"/>
              </a:ext>
            </a:extLst>
          </p:cNvPr>
          <p:cNvSpPr>
            <a:spLocks noGrp="1" noChangeArrowheads="1"/>
          </p:cNvSpPr>
          <p:nvPr>
            <p:ph type="dt" sz="half" idx="17"/>
          </p:nvPr>
        </p:nvSpPr>
        <p:spPr>
          <a:xfrm>
            <a:off x="5942013" y="6107113"/>
            <a:ext cx="2551112" cy="306387"/>
          </a:xfrm>
        </p:spPr>
        <p:txBody>
          <a:bodyPr rIns="0" anchor="ctr"/>
          <a:lstStyle>
            <a:lvl1pPr algn="r">
              <a:defRPr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7979419"/>
      </p:ext>
    </p:extLst>
  </p:cSld>
  <p:clrMapOvr>
    <a:masterClrMapping/>
  </p:clrMapOvr>
  <p:hf hd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349250" y="1147233"/>
            <a:ext cx="4159249" cy="504825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607983" y="1147233"/>
            <a:ext cx="4159249" cy="2461684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4612216" y="3723217"/>
            <a:ext cx="4159249" cy="2461684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86D6D4AE-F26B-4117-BB27-B98AD4546C57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fld id="{B931EF90-6269-4264-9EAD-65EE09CA2082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9C68D4E-49EC-46C4-B9D5-FC62F96D551E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25771157"/>
      </p:ext>
    </p:extLst>
  </p:cSld>
  <p:clrMapOvr>
    <a:masterClrMapping/>
  </p:clrMapOvr>
  <p:hf hd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607983" y="1147233"/>
            <a:ext cx="4159249" cy="2461684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4612216" y="3723217"/>
            <a:ext cx="4159249" cy="2461684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Chart Placeholder 4"/>
          <p:cNvSpPr>
            <a:spLocks noGrp="1"/>
          </p:cNvSpPr>
          <p:nvPr>
            <p:ph type="chart" sz="quarter" idx="21"/>
          </p:nvPr>
        </p:nvSpPr>
        <p:spPr>
          <a:xfrm>
            <a:off x="347133" y="1140883"/>
            <a:ext cx="4159249" cy="2461684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14" name="Chart Placeholder 4"/>
          <p:cNvSpPr>
            <a:spLocks noGrp="1"/>
          </p:cNvSpPr>
          <p:nvPr>
            <p:ph type="chart" sz="quarter" idx="22"/>
          </p:nvPr>
        </p:nvSpPr>
        <p:spPr>
          <a:xfrm>
            <a:off x="351366" y="3716867"/>
            <a:ext cx="4159249" cy="2461684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B1FAD5B6-5D5C-4E7C-B5E1-E9D571432B45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/>
            </a:lvl1pPr>
          </a:lstStyle>
          <a:p>
            <a:fld id="{744389AD-A885-468D-BF77-A0629FEDB1AB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CD77D376-7501-4564-AFC5-83059576ED82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2599829524"/>
      </p:ext>
    </p:extLst>
  </p:cSld>
  <p:clrMapOvr>
    <a:masterClrMapping/>
  </p:clrMapOvr>
  <p:hf hd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086">
            <a:extLst>
              <a:ext uri="{FF2B5EF4-FFF2-40B4-BE49-F238E27FC236}">
                <a16:creationId xmlns:a16="http://schemas.microsoft.com/office/drawing/2014/main" id="{F5443646-2BBE-4CB4-85A5-01F5536D4E87}"/>
              </a:ext>
            </a:extLst>
          </p:cNvPr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" name="Line 1087">
            <a:extLst>
              <a:ext uri="{FF2B5EF4-FFF2-40B4-BE49-F238E27FC236}">
                <a16:creationId xmlns:a16="http://schemas.microsoft.com/office/drawing/2014/main" id="{5561750D-5EAB-4E8E-9BA7-56A2461A6ADF}"/>
              </a:ext>
            </a:extLst>
          </p:cNvPr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6" name="Rectangle 1088">
            <a:extLst>
              <a:ext uri="{FF2B5EF4-FFF2-40B4-BE49-F238E27FC236}">
                <a16:creationId xmlns:a16="http://schemas.microsoft.com/office/drawing/2014/main" id="{EBC536A5-1EE3-47EE-B7BA-E5DA1A9B96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7" name="Rectangle 1089">
            <a:extLst>
              <a:ext uri="{FF2B5EF4-FFF2-40B4-BE49-F238E27FC236}">
                <a16:creationId xmlns:a16="http://schemas.microsoft.com/office/drawing/2014/main" id="{F29A461E-FA6E-4F77-8945-20C4A806A6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8" name="Freeform 1098">
            <a:extLst>
              <a:ext uri="{FF2B5EF4-FFF2-40B4-BE49-F238E27FC236}">
                <a16:creationId xmlns:a16="http://schemas.microsoft.com/office/drawing/2014/main" id="{AA9EA68B-2152-4AFA-A56D-3EB7F452C34C}"/>
              </a:ext>
            </a:extLst>
          </p:cNvPr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>
              <a:gd name="T0" fmla="*/ 0 w 2"/>
              <a:gd name="T1" fmla="*/ 0 h 1587"/>
              <a:gd name="T2" fmla="*/ 2147483647 w 2"/>
              <a:gd name="T3" fmla="*/ 0 h 1587"/>
              <a:gd name="T4" fmla="*/ 2147483647 w 2"/>
              <a:gd name="T5" fmla="*/ 0 h 1587"/>
              <a:gd name="T6" fmla="*/ 2147483647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2147483647 w 2"/>
              <a:gd name="T35" fmla="*/ 0 h 1587"/>
              <a:gd name="T36" fmla="*/ 2147483647 w 2"/>
              <a:gd name="T37" fmla="*/ 0 h 1587"/>
              <a:gd name="T38" fmla="*/ 2147483647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" name="Freeform 1115">
            <a:extLst>
              <a:ext uri="{FF2B5EF4-FFF2-40B4-BE49-F238E27FC236}">
                <a16:creationId xmlns:a16="http://schemas.microsoft.com/office/drawing/2014/main" id="{9EDA1A86-0E97-4168-AF3E-E519BA53ABFD}"/>
              </a:ext>
            </a:extLst>
          </p:cNvPr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0 w 2"/>
              <a:gd name="T5" fmla="*/ 2147483647 h 2"/>
              <a:gd name="T6" fmla="*/ 0 w 2"/>
              <a:gd name="T7" fmla="*/ 2147483647 h 2"/>
              <a:gd name="T8" fmla="*/ 0 w 2"/>
              <a:gd name="T9" fmla="*/ 2147483647 h 2"/>
              <a:gd name="T10" fmla="*/ 0 w 2"/>
              <a:gd name="T11" fmla="*/ 2147483647 h 2"/>
              <a:gd name="T12" fmla="*/ 2147483647 w 2"/>
              <a:gd name="T13" fmla="*/ 2147483647 h 2"/>
              <a:gd name="T14" fmla="*/ 2147483647 w 2"/>
              <a:gd name="T15" fmla="*/ 2147483647 h 2"/>
              <a:gd name="T16" fmla="*/ 2147483647 w 2"/>
              <a:gd name="T17" fmla="*/ 0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0 w 2"/>
              <a:gd name="T25" fmla="*/ 2147483647 h 2"/>
              <a:gd name="T26" fmla="*/ 0 w 2"/>
              <a:gd name="T27" fmla="*/ 2147483647 h 2"/>
              <a:gd name="T28" fmla="*/ 2147483647 w 2"/>
              <a:gd name="T29" fmla="*/ 2147483647 h 2"/>
              <a:gd name="T30" fmla="*/ 2147483647 w 2"/>
              <a:gd name="T31" fmla="*/ 2147483647 h 2"/>
              <a:gd name="T32" fmla="*/ 2147483647 w 2"/>
              <a:gd name="T33" fmla="*/ 2147483647 h 2"/>
              <a:gd name="T34" fmla="*/ 2147483647 w 2"/>
              <a:gd name="T35" fmla="*/ 2147483647 h 2"/>
              <a:gd name="T36" fmla="*/ 2147483647 w 2"/>
              <a:gd name="T37" fmla="*/ 2147483647 h 2"/>
              <a:gd name="T38" fmla="*/ 2147483647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0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0 w 2"/>
              <a:gd name="T53" fmla="*/ 2147483647 h 2"/>
              <a:gd name="T54" fmla="*/ 2147483647 w 2"/>
              <a:gd name="T55" fmla="*/ 2147483647 h 2"/>
              <a:gd name="T56" fmla="*/ 0 w 2"/>
              <a:gd name="T57" fmla="*/ 2147483647 h 2"/>
              <a:gd name="T58" fmla="*/ 2147483647 w 2"/>
              <a:gd name="T59" fmla="*/ 2147483647 h 2"/>
              <a:gd name="T60" fmla="*/ 2147483647 w 2"/>
              <a:gd name="T61" fmla="*/ 2147483647 h 2"/>
              <a:gd name="T62" fmla="*/ 2147483647 w 2"/>
              <a:gd name="T63" fmla="*/ 2147483647 h 2"/>
              <a:gd name="T64" fmla="*/ 0 w 2"/>
              <a:gd name="T65" fmla="*/ 2147483647 h 2"/>
              <a:gd name="T66" fmla="*/ 0 w 2"/>
              <a:gd name="T67" fmla="*/ 2147483647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" name="Freeform 1120">
            <a:extLst>
              <a:ext uri="{FF2B5EF4-FFF2-40B4-BE49-F238E27FC236}">
                <a16:creationId xmlns:a16="http://schemas.microsoft.com/office/drawing/2014/main" id="{488C7E4F-160A-4C86-98D4-5E2EEA4404EB}"/>
              </a:ext>
            </a:extLst>
          </p:cNvPr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2147483647 h 2"/>
              <a:gd name="T4" fmla="*/ 0 w 2"/>
              <a:gd name="T5" fmla="*/ 2147483647 h 2"/>
              <a:gd name="T6" fmla="*/ 0 w 2"/>
              <a:gd name="T7" fmla="*/ 2147483647 h 2"/>
              <a:gd name="T8" fmla="*/ 2147483647 w 2"/>
              <a:gd name="T9" fmla="*/ 2147483647 h 2"/>
              <a:gd name="T10" fmla="*/ 2147483647 w 2"/>
              <a:gd name="T11" fmla="*/ 0 h 2"/>
              <a:gd name="T12" fmla="*/ 2147483647 w 2"/>
              <a:gd name="T13" fmla="*/ 0 h 2"/>
              <a:gd name="T14" fmla="*/ 2147483647 w 2"/>
              <a:gd name="T15" fmla="*/ 0 h 2"/>
              <a:gd name="T16" fmla="*/ 0 w 2"/>
              <a:gd name="T17" fmla="*/ 0 h 2"/>
              <a:gd name="T18" fmla="*/ 0 w 2"/>
              <a:gd name="T19" fmla="*/ 2147483647 h 2"/>
              <a:gd name="T20" fmla="*/ 0 w 2"/>
              <a:gd name="T21" fmla="*/ 2147483647 h 2"/>
              <a:gd name="T22" fmla="*/ 2147483647 w 2"/>
              <a:gd name="T23" fmla="*/ 0 h 2"/>
              <a:gd name="T24" fmla="*/ 2147483647 w 2"/>
              <a:gd name="T25" fmla="*/ 0 h 2"/>
              <a:gd name="T26" fmla="*/ 2147483647 w 2"/>
              <a:gd name="T27" fmla="*/ 0 h 2"/>
              <a:gd name="T28" fmla="*/ 2147483647 w 2"/>
              <a:gd name="T29" fmla="*/ 2147483647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2147483647 h 2"/>
              <a:gd name="T38" fmla="*/ 0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2147483647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2147483647 w 2"/>
              <a:gd name="T53" fmla="*/ 2147483647 h 2"/>
              <a:gd name="T54" fmla="*/ 2147483647 w 2"/>
              <a:gd name="T55" fmla="*/ 2147483647 h 2"/>
              <a:gd name="T56" fmla="*/ 2147483647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" name="Freeform 1134">
            <a:extLst>
              <a:ext uri="{FF2B5EF4-FFF2-40B4-BE49-F238E27FC236}">
                <a16:creationId xmlns:a16="http://schemas.microsoft.com/office/drawing/2014/main" id="{95B663A3-EEEF-43FB-88D9-748202387491}"/>
              </a:ext>
            </a:extLst>
          </p:cNvPr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>
              <a:gd name="T0" fmla="*/ 2147483647 w 2"/>
              <a:gd name="T1" fmla="*/ 2147483647 h 4"/>
              <a:gd name="T2" fmla="*/ 2147483647 w 2"/>
              <a:gd name="T3" fmla="*/ 2147483647 h 4"/>
              <a:gd name="T4" fmla="*/ 2147483647 w 2"/>
              <a:gd name="T5" fmla="*/ 2147483647 h 4"/>
              <a:gd name="T6" fmla="*/ 2147483647 w 2"/>
              <a:gd name="T7" fmla="*/ 2147483647 h 4"/>
              <a:gd name="T8" fmla="*/ 2147483647 w 2"/>
              <a:gd name="T9" fmla="*/ 0 h 4"/>
              <a:gd name="T10" fmla="*/ 2147483647 w 2"/>
              <a:gd name="T11" fmla="*/ 0 h 4"/>
              <a:gd name="T12" fmla="*/ 2147483647 w 2"/>
              <a:gd name="T13" fmla="*/ 0 h 4"/>
              <a:gd name="T14" fmla="*/ 0 w 2"/>
              <a:gd name="T15" fmla="*/ 2147483647 h 4"/>
              <a:gd name="T16" fmla="*/ 2147483647 w 2"/>
              <a:gd name="T17" fmla="*/ 2147483647 h 4"/>
              <a:gd name="T18" fmla="*/ 2147483647 w 2"/>
              <a:gd name="T19" fmla="*/ 2147483647 h 4"/>
              <a:gd name="T20" fmla="*/ 2147483647 w 2"/>
              <a:gd name="T21" fmla="*/ 2147483647 h 4"/>
              <a:gd name="T22" fmla="*/ 2147483647 w 2"/>
              <a:gd name="T23" fmla="*/ 0 h 4"/>
              <a:gd name="T24" fmla="*/ 2147483647 w 2"/>
              <a:gd name="T25" fmla="*/ 2147483647 h 4"/>
              <a:gd name="T26" fmla="*/ 2147483647 w 2"/>
              <a:gd name="T27" fmla="*/ 2147483647 h 4"/>
              <a:gd name="T28" fmla="*/ 2147483647 w 2"/>
              <a:gd name="T29" fmla="*/ 2147483647 h 4"/>
              <a:gd name="T30" fmla="*/ 2147483647 w 2"/>
              <a:gd name="T31" fmla="*/ 2147483647 h 4"/>
              <a:gd name="T32" fmla="*/ 2147483647 w 2"/>
              <a:gd name="T33" fmla="*/ 2147483647 h 4"/>
              <a:gd name="T34" fmla="*/ 2147483647 w 2"/>
              <a:gd name="T35" fmla="*/ 2147483647 h 4"/>
              <a:gd name="T36" fmla="*/ 2147483647 w 2"/>
              <a:gd name="T37" fmla="*/ 2147483647 h 4"/>
              <a:gd name="T38" fmla="*/ 2147483647 w 2"/>
              <a:gd name="T39" fmla="*/ 2147483647 h 4"/>
              <a:gd name="T40" fmla="*/ 2147483647 w 2"/>
              <a:gd name="T41" fmla="*/ 2147483647 h 4"/>
              <a:gd name="T42" fmla="*/ 2147483647 w 2"/>
              <a:gd name="T43" fmla="*/ 2147483647 h 4"/>
              <a:gd name="T44" fmla="*/ 2147483647 w 2"/>
              <a:gd name="T45" fmla="*/ 2147483647 h 4"/>
              <a:gd name="T46" fmla="*/ 2147483647 w 2"/>
              <a:gd name="T47" fmla="*/ 2147483647 h 4"/>
              <a:gd name="T48" fmla="*/ 2147483647 w 2"/>
              <a:gd name="T49" fmla="*/ 2147483647 h 4"/>
              <a:gd name="T50" fmla="*/ 2147483647 w 2"/>
              <a:gd name="T51" fmla="*/ 2147483647 h 4"/>
              <a:gd name="T52" fmla="*/ 0 w 2"/>
              <a:gd name="T53" fmla="*/ 2147483647 h 4"/>
              <a:gd name="T54" fmla="*/ 2147483647 w 2"/>
              <a:gd name="T55" fmla="*/ 2147483647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" name="Freeform 1141">
            <a:extLst>
              <a:ext uri="{FF2B5EF4-FFF2-40B4-BE49-F238E27FC236}">
                <a16:creationId xmlns:a16="http://schemas.microsoft.com/office/drawing/2014/main" id="{AD57A127-BA94-4872-9699-2CA53C14EE43}"/>
              </a:ext>
            </a:extLst>
          </p:cNvPr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>
              <a:gd name="T0" fmla="*/ 0 w 1587"/>
              <a:gd name="T1" fmla="*/ 2147483647 h 4"/>
              <a:gd name="T2" fmla="*/ 0 w 1587"/>
              <a:gd name="T3" fmla="*/ 2147483647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2147483647 h 4"/>
              <a:gd name="T10" fmla="*/ 0 w 1587"/>
              <a:gd name="T11" fmla="*/ 2147483647 h 4"/>
              <a:gd name="T12" fmla="*/ 0 w 1587"/>
              <a:gd name="T13" fmla="*/ 2147483647 h 4"/>
              <a:gd name="T14" fmla="*/ 0 w 1587"/>
              <a:gd name="T15" fmla="*/ 2147483647 h 4"/>
              <a:gd name="T16" fmla="*/ 0 w 1587"/>
              <a:gd name="T17" fmla="*/ 2147483647 h 4"/>
              <a:gd name="T18" fmla="*/ 0 w 1587"/>
              <a:gd name="T19" fmla="*/ 2147483647 h 4"/>
              <a:gd name="T20" fmla="*/ 0 w 1587"/>
              <a:gd name="T21" fmla="*/ 2147483647 h 4"/>
              <a:gd name="T22" fmla="*/ 0 w 1587"/>
              <a:gd name="T23" fmla="*/ 2147483647 h 4"/>
              <a:gd name="T24" fmla="*/ 0 w 1587"/>
              <a:gd name="T25" fmla="*/ 2147483647 h 4"/>
              <a:gd name="T26" fmla="*/ 0 w 1587"/>
              <a:gd name="T27" fmla="*/ 2147483647 h 4"/>
              <a:gd name="T28" fmla="*/ 0 w 1587"/>
              <a:gd name="T29" fmla="*/ 2147483647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3" name="Freeform 1148">
            <a:extLst>
              <a:ext uri="{FF2B5EF4-FFF2-40B4-BE49-F238E27FC236}">
                <a16:creationId xmlns:a16="http://schemas.microsoft.com/office/drawing/2014/main" id="{216051F6-642C-4F85-91FA-54B0D8AB0661}"/>
              </a:ext>
            </a:extLst>
          </p:cNvPr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>
              <a:gd name="T0" fmla="*/ 2147483647 w 2"/>
              <a:gd name="T1" fmla="*/ 2147483647 h 2"/>
              <a:gd name="T2" fmla="*/ 2147483647 w 2"/>
              <a:gd name="T3" fmla="*/ 0 h 2"/>
              <a:gd name="T4" fmla="*/ 2147483647 w 2"/>
              <a:gd name="T5" fmla="*/ 0 h 2"/>
              <a:gd name="T6" fmla="*/ 2147483647 w 2"/>
              <a:gd name="T7" fmla="*/ 0 h 2"/>
              <a:gd name="T8" fmla="*/ 2147483647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2147483647 h 2"/>
              <a:gd name="T16" fmla="*/ 0 w 2"/>
              <a:gd name="T17" fmla="*/ 2147483647 h 2"/>
              <a:gd name="T18" fmla="*/ 0 w 2"/>
              <a:gd name="T19" fmla="*/ 2147483647 h 2"/>
              <a:gd name="T20" fmla="*/ 2147483647 w 2"/>
              <a:gd name="T21" fmla="*/ 2147483647 h 2"/>
              <a:gd name="T22" fmla="*/ 2147483647 w 2"/>
              <a:gd name="T23" fmla="*/ 2147483647 h 2"/>
              <a:gd name="T24" fmla="*/ 2147483647 w 2"/>
              <a:gd name="T25" fmla="*/ 0 h 2"/>
              <a:gd name="T26" fmla="*/ 2147483647 w 2"/>
              <a:gd name="T27" fmla="*/ 0 h 2"/>
              <a:gd name="T28" fmla="*/ 2147483647 w 2"/>
              <a:gd name="T29" fmla="*/ 0 h 2"/>
              <a:gd name="T30" fmla="*/ 0 w 2"/>
              <a:gd name="T31" fmla="*/ 2147483647 h 2"/>
              <a:gd name="T32" fmla="*/ 2147483647 w 2"/>
              <a:gd name="T33" fmla="*/ 2147483647 h 2"/>
              <a:gd name="T34" fmla="*/ 2147483647 w 2"/>
              <a:gd name="T35" fmla="*/ 0 h 2"/>
              <a:gd name="T36" fmla="*/ 0 w 2"/>
              <a:gd name="T37" fmla="*/ 2147483647 h 2"/>
              <a:gd name="T38" fmla="*/ 2147483647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0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0 w 2"/>
              <a:gd name="T53" fmla="*/ 2147483647 h 2"/>
              <a:gd name="T54" fmla="*/ 0 w 2"/>
              <a:gd name="T55" fmla="*/ 2147483647 h 2"/>
              <a:gd name="T56" fmla="*/ 0 w 2"/>
              <a:gd name="T57" fmla="*/ 2147483647 h 2"/>
              <a:gd name="T58" fmla="*/ 2147483647 w 2"/>
              <a:gd name="T59" fmla="*/ 2147483647 h 2"/>
              <a:gd name="T60" fmla="*/ 2147483647 w 2"/>
              <a:gd name="T61" fmla="*/ 2147483647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4" name="Freeform 1150">
            <a:extLst>
              <a:ext uri="{FF2B5EF4-FFF2-40B4-BE49-F238E27FC236}">
                <a16:creationId xmlns:a16="http://schemas.microsoft.com/office/drawing/2014/main" id="{120D44E4-6057-400F-8955-CBFDD582E71C}"/>
              </a:ext>
            </a:extLst>
          </p:cNvPr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>
              <a:gd name="T0" fmla="*/ 0 w 1587"/>
              <a:gd name="T1" fmla="*/ 2147483647 h 2"/>
              <a:gd name="T2" fmla="*/ 0 w 1587"/>
              <a:gd name="T3" fmla="*/ 0 h 2"/>
              <a:gd name="T4" fmla="*/ 0 w 1587"/>
              <a:gd name="T5" fmla="*/ 2147483647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5" name="Freeform 1152">
            <a:extLst>
              <a:ext uri="{FF2B5EF4-FFF2-40B4-BE49-F238E27FC236}">
                <a16:creationId xmlns:a16="http://schemas.microsoft.com/office/drawing/2014/main" id="{7CADB504-84D3-4728-B8AA-138AE3B9299D}"/>
              </a:ext>
            </a:extLst>
          </p:cNvPr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>
              <a:gd name="T0" fmla="*/ 2147483647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2147483647 h 2"/>
              <a:gd name="T10" fmla="*/ 2147483647 w 2"/>
              <a:gd name="T11" fmla="*/ 2147483647 h 2"/>
              <a:gd name="T12" fmla="*/ 2147483647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2147483647 h 2"/>
              <a:gd name="T22" fmla="*/ 2147483647 w 2"/>
              <a:gd name="T23" fmla="*/ 2147483647 h 2"/>
              <a:gd name="T24" fmla="*/ 2147483647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6" name="Freeform 1154">
            <a:extLst>
              <a:ext uri="{FF2B5EF4-FFF2-40B4-BE49-F238E27FC236}">
                <a16:creationId xmlns:a16="http://schemas.microsoft.com/office/drawing/2014/main" id="{300D1B4F-C958-4F5A-AEDE-8B71992B942E}"/>
              </a:ext>
            </a:extLst>
          </p:cNvPr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>
              <a:gd name="T0" fmla="*/ 2147483647 w 2"/>
              <a:gd name="T1" fmla="*/ 0 h 1588"/>
              <a:gd name="T2" fmla="*/ 0 w 2"/>
              <a:gd name="T3" fmla="*/ 0 h 1588"/>
              <a:gd name="T4" fmla="*/ 2147483647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7" name="Freeform 1156">
            <a:extLst>
              <a:ext uri="{FF2B5EF4-FFF2-40B4-BE49-F238E27FC236}">
                <a16:creationId xmlns:a16="http://schemas.microsoft.com/office/drawing/2014/main" id="{D6AE6C6B-AACE-46C1-8147-521111FAF039}"/>
              </a:ext>
            </a:extLst>
          </p:cNvPr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>
              <a:gd name="T0" fmla="*/ 2147483647 w 2"/>
              <a:gd name="T1" fmla="*/ 2147483647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2147483647 h 2"/>
              <a:gd name="T8" fmla="*/ 2147483647 w 2"/>
              <a:gd name="T9" fmla="*/ 2147483647 h 2"/>
              <a:gd name="T10" fmla="*/ 2147483647 w 2"/>
              <a:gd name="T11" fmla="*/ 2147483647 h 2"/>
              <a:gd name="T12" fmla="*/ 2147483647 w 2"/>
              <a:gd name="T13" fmla="*/ 2147483647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2147483647 h 2"/>
              <a:gd name="T20" fmla="*/ 2147483647 w 2"/>
              <a:gd name="T21" fmla="*/ 2147483647 h 2"/>
              <a:gd name="T22" fmla="*/ 2147483647 w 2"/>
              <a:gd name="T23" fmla="*/ 2147483647 h 2"/>
              <a:gd name="T24" fmla="*/ 2147483647 w 2"/>
              <a:gd name="T25" fmla="*/ 2147483647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8" name="Freeform 1163">
            <a:extLst>
              <a:ext uri="{FF2B5EF4-FFF2-40B4-BE49-F238E27FC236}">
                <a16:creationId xmlns:a16="http://schemas.microsoft.com/office/drawing/2014/main" id="{0AEFC53D-DE6F-4432-9FA3-F435D9008EC8}"/>
              </a:ext>
            </a:extLst>
          </p:cNvPr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>
              <a:gd name="T0" fmla="*/ 2147483647 w 4"/>
              <a:gd name="T1" fmla="*/ 2147483647 h 2"/>
              <a:gd name="T2" fmla="*/ 2147483647 w 4"/>
              <a:gd name="T3" fmla="*/ 2147483647 h 2"/>
              <a:gd name="T4" fmla="*/ 2147483647 w 4"/>
              <a:gd name="T5" fmla="*/ 2147483647 h 2"/>
              <a:gd name="T6" fmla="*/ 2147483647 w 4"/>
              <a:gd name="T7" fmla="*/ 0 h 2"/>
              <a:gd name="T8" fmla="*/ 2147483647 w 4"/>
              <a:gd name="T9" fmla="*/ 0 h 2"/>
              <a:gd name="T10" fmla="*/ 2147483647 w 4"/>
              <a:gd name="T11" fmla="*/ 0 h 2"/>
              <a:gd name="T12" fmla="*/ 2147483647 w 4"/>
              <a:gd name="T13" fmla="*/ 0 h 2"/>
              <a:gd name="T14" fmla="*/ 0 w 4"/>
              <a:gd name="T15" fmla="*/ 2147483647 h 2"/>
              <a:gd name="T16" fmla="*/ 2147483647 w 4"/>
              <a:gd name="T17" fmla="*/ 2147483647 h 2"/>
              <a:gd name="T18" fmla="*/ 2147483647 w 4"/>
              <a:gd name="T19" fmla="*/ 0 h 2"/>
              <a:gd name="T20" fmla="*/ 2147483647 w 4"/>
              <a:gd name="T21" fmla="*/ 2147483647 h 2"/>
              <a:gd name="T22" fmla="*/ 2147483647 w 4"/>
              <a:gd name="T23" fmla="*/ 0 h 2"/>
              <a:gd name="T24" fmla="*/ 2147483647 w 4"/>
              <a:gd name="T25" fmla="*/ 0 h 2"/>
              <a:gd name="T26" fmla="*/ 2147483647 w 4"/>
              <a:gd name="T27" fmla="*/ 0 h 2"/>
              <a:gd name="T28" fmla="*/ 2147483647 w 4"/>
              <a:gd name="T29" fmla="*/ 0 h 2"/>
              <a:gd name="T30" fmla="*/ 0 w 4"/>
              <a:gd name="T31" fmla="*/ 0 h 2"/>
              <a:gd name="T32" fmla="*/ 2147483647 w 4"/>
              <a:gd name="T33" fmla="*/ 2147483647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9" name="Freeform 1172">
            <a:extLst>
              <a:ext uri="{FF2B5EF4-FFF2-40B4-BE49-F238E27FC236}">
                <a16:creationId xmlns:a16="http://schemas.microsoft.com/office/drawing/2014/main" id="{C43A71AD-6B72-4627-A98D-CBE7417AE26A}"/>
              </a:ext>
            </a:extLst>
          </p:cNvPr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2147483647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2147483647 h 2"/>
              <a:gd name="T14" fmla="*/ 0 w 2"/>
              <a:gd name="T15" fmla="*/ 2147483647 h 2"/>
              <a:gd name="T16" fmla="*/ 0 w 2"/>
              <a:gd name="T17" fmla="*/ 2147483647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0 w 2"/>
              <a:gd name="T25" fmla="*/ 2147483647 h 2"/>
              <a:gd name="T26" fmla="*/ 0 w 2"/>
              <a:gd name="T27" fmla="*/ 2147483647 h 2"/>
              <a:gd name="T28" fmla="*/ 0 w 2"/>
              <a:gd name="T29" fmla="*/ 2147483647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2147483647 h 2"/>
              <a:gd name="T38" fmla="*/ 0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0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0 w 2"/>
              <a:gd name="T53" fmla="*/ 2147483647 h 2"/>
              <a:gd name="T54" fmla="*/ 0 w 2"/>
              <a:gd name="T55" fmla="*/ 2147483647 h 2"/>
              <a:gd name="T56" fmla="*/ 0 w 2"/>
              <a:gd name="T57" fmla="*/ 2147483647 h 2"/>
              <a:gd name="T58" fmla="*/ 0 w 2"/>
              <a:gd name="T59" fmla="*/ 2147483647 h 2"/>
              <a:gd name="T60" fmla="*/ 0 w 2"/>
              <a:gd name="T61" fmla="*/ 2147483647 h 2"/>
              <a:gd name="T62" fmla="*/ 0 w 2"/>
              <a:gd name="T63" fmla="*/ 2147483647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" name="Freeform 1177">
            <a:extLst>
              <a:ext uri="{FF2B5EF4-FFF2-40B4-BE49-F238E27FC236}">
                <a16:creationId xmlns:a16="http://schemas.microsoft.com/office/drawing/2014/main" id="{B1EC7346-7D52-46E8-A2D7-AE11E76CC053}"/>
              </a:ext>
            </a:extLst>
          </p:cNvPr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>
              <a:gd name="T0" fmla="*/ 0 w 2"/>
              <a:gd name="T1" fmla="*/ 2147483647 h 2"/>
              <a:gd name="T2" fmla="*/ 2147483647 w 2"/>
              <a:gd name="T3" fmla="*/ 2147483647 h 2"/>
              <a:gd name="T4" fmla="*/ 2147483647 w 2"/>
              <a:gd name="T5" fmla="*/ 2147483647 h 2"/>
              <a:gd name="T6" fmla="*/ 2147483647 w 2"/>
              <a:gd name="T7" fmla="*/ 0 h 2"/>
              <a:gd name="T8" fmla="*/ 2147483647 w 2"/>
              <a:gd name="T9" fmla="*/ 0 h 2"/>
              <a:gd name="T10" fmla="*/ 2147483647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2147483647 h 2"/>
              <a:gd name="T40" fmla="*/ 0 w 2"/>
              <a:gd name="T41" fmla="*/ 2147483647 h 2"/>
              <a:gd name="T42" fmla="*/ 2147483647 w 2"/>
              <a:gd name="T43" fmla="*/ 2147483647 h 2"/>
              <a:gd name="T44" fmla="*/ 2147483647 w 2"/>
              <a:gd name="T45" fmla="*/ 0 h 2"/>
              <a:gd name="T46" fmla="*/ 2147483647 w 2"/>
              <a:gd name="T47" fmla="*/ 0 h 2"/>
              <a:gd name="T48" fmla="*/ 2147483647 w 2"/>
              <a:gd name="T49" fmla="*/ 0 h 2"/>
              <a:gd name="T50" fmla="*/ 2147483647 w 2"/>
              <a:gd name="T51" fmla="*/ 0 h 2"/>
              <a:gd name="T52" fmla="*/ 2147483647 w 2"/>
              <a:gd name="T53" fmla="*/ 0 h 2"/>
              <a:gd name="T54" fmla="*/ 2147483647 w 2"/>
              <a:gd name="T55" fmla="*/ 0 h 2"/>
              <a:gd name="T56" fmla="*/ 2147483647 w 2"/>
              <a:gd name="T57" fmla="*/ 0 h 2"/>
              <a:gd name="T58" fmla="*/ 2147483647 w 2"/>
              <a:gd name="T59" fmla="*/ 0 h 2"/>
              <a:gd name="T60" fmla="*/ 2147483647 w 2"/>
              <a:gd name="T61" fmla="*/ 0 h 2"/>
              <a:gd name="T62" fmla="*/ 2147483647 w 2"/>
              <a:gd name="T63" fmla="*/ 0 h 2"/>
              <a:gd name="T64" fmla="*/ 2147483647 w 2"/>
              <a:gd name="T65" fmla="*/ 0 h 2"/>
              <a:gd name="T66" fmla="*/ 2147483647 w 2"/>
              <a:gd name="T67" fmla="*/ 2147483647 h 2"/>
              <a:gd name="T68" fmla="*/ 2147483647 w 2"/>
              <a:gd name="T69" fmla="*/ 0 h 2"/>
              <a:gd name="T70" fmla="*/ 2147483647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2147483647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" name="Freeform 1180">
            <a:extLst>
              <a:ext uri="{FF2B5EF4-FFF2-40B4-BE49-F238E27FC236}">
                <a16:creationId xmlns:a16="http://schemas.microsoft.com/office/drawing/2014/main" id="{ED4891B8-7A1A-4AD8-AAB4-034F6F9BB1E8}"/>
              </a:ext>
            </a:extLst>
          </p:cNvPr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>
              <a:gd name="T0" fmla="*/ 0 w 2"/>
              <a:gd name="T1" fmla="*/ 2147483647 h 3"/>
              <a:gd name="T2" fmla="*/ 0 w 2"/>
              <a:gd name="T3" fmla="*/ 2147483647 h 3"/>
              <a:gd name="T4" fmla="*/ 2147483647 w 2"/>
              <a:gd name="T5" fmla="*/ 2147483647 h 3"/>
              <a:gd name="T6" fmla="*/ 2147483647 w 2"/>
              <a:gd name="T7" fmla="*/ 2147483647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2147483647 h 3"/>
              <a:gd name="T16" fmla="*/ 0 w 2"/>
              <a:gd name="T17" fmla="*/ 2147483647 h 3"/>
              <a:gd name="T18" fmla="*/ 0 w 2"/>
              <a:gd name="T19" fmla="*/ 2147483647 h 3"/>
              <a:gd name="T20" fmla="*/ 0 w 2"/>
              <a:gd name="T21" fmla="*/ 2147483647 h 3"/>
              <a:gd name="T22" fmla="*/ 0 w 2"/>
              <a:gd name="T23" fmla="*/ 0 h 3"/>
              <a:gd name="T24" fmla="*/ 0 w 2"/>
              <a:gd name="T25" fmla="*/ 2147483647 h 3"/>
              <a:gd name="T26" fmla="*/ 0 w 2"/>
              <a:gd name="T27" fmla="*/ 2147483647 h 3"/>
              <a:gd name="T28" fmla="*/ 0 w 2"/>
              <a:gd name="T29" fmla="*/ 2147483647 h 3"/>
              <a:gd name="T30" fmla="*/ 0 w 2"/>
              <a:gd name="T31" fmla="*/ 2147483647 h 3"/>
              <a:gd name="T32" fmla="*/ 0 w 2"/>
              <a:gd name="T33" fmla="*/ 2147483647 h 3"/>
              <a:gd name="T34" fmla="*/ 0 w 2"/>
              <a:gd name="T35" fmla="*/ 2147483647 h 3"/>
              <a:gd name="T36" fmla="*/ 0 w 2"/>
              <a:gd name="T37" fmla="*/ 2147483647 h 3"/>
              <a:gd name="T38" fmla="*/ 0 w 2"/>
              <a:gd name="T39" fmla="*/ 2147483647 h 3"/>
              <a:gd name="T40" fmla="*/ 0 w 2"/>
              <a:gd name="T41" fmla="*/ 2147483647 h 3"/>
              <a:gd name="T42" fmla="*/ 0 w 2"/>
              <a:gd name="T43" fmla="*/ 2147483647 h 3"/>
              <a:gd name="T44" fmla="*/ 0 w 2"/>
              <a:gd name="T45" fmla="*/ 2147483647 h 3"/>
              <a:gd name="T46" fmla="*/ 0 w 2"/>
              <a:gd name="T47" fmla="*/ 2147483647 h 3"/>
              <a:gd name="T48" fmla="*/ 0 w 2"/>
              <a:gd name="T49" fmla="*/ 2147483647 h 3"/>
              <a:gd name="T50" fmla="*/ 0 w 2"/>
              <a:gd name="T51" fmla="*/ 2147483647 h 3"/>
              <a:gd name="T52" fmla="*/ 0 w 2"/>
              <a:gd name="T53" fmla="*/ 2147483647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" name="Line 1187">
            <a:extLst>
              <a:ext uri="{FF2B5EF4-FFF2-40B4-BE49-F238E27FC236}">
                <a16:creationId xmlns:a16="http://schemas.microsoft.com/office/drawing/2014/main" id="{DD8D646D-34CB-4989-8377-E18F3B1E7C8A}"/>
              </a:ext>
            </a:extLst>
          </p:cNvPr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" name="Line 1188">
            <a:extLst>
              <a:ext uri="{FF2B5EF4-FFF2-40B4-BE49-F238E27FC236}">
                <a16:creationId xmlns:a16="http://schemas.microsoft.com/office/drawing/2014/main" id="{3B383013-3EE0-456E-8944-D531EADF0092}"/>
              </a:ext>
            </a:extLst>
          </p:cNvPr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" name="Freeform 1208">
            <a:extLst>
              <a:ext uri="{FF2B5EF4-FFF2-40B4-BE49-F238E27FC236}">
                <a16:creationId xmlns:a16="http://schemas.microsoft.com/office/drawing/2014/main" id="{B06DA6A3-DC4A-43D8-8701-7DD0840398C3}"/>
              </a:ext>
            </a:extLst>
          </p:cNvPr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" name="Freeform 1210">
            <a:extLst>
              <a:ext uri="{FF2B5EF4-FFF2-40B4-BE49-F238E27FC236}">
                <a16:creationId xmlns:a16="http://schemas.microsoft.com/office/drawing/2014/main" id="{004C03E0-D520-4C46-84A4-CEADD5106A93}"/>
              </a:ext>
            </a:extLst>
          </p:cNvPr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2147483647 h 2"/>
              <a:gd name="T6" fmla="*/ 2147483647 w 2"/>
              <a:gd name="T7" fmla="*/ 0 h 2"/>
              <a:gd name="T8" fmla="*/ 2147483647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2147483647 h 2"/>
              <a:gd name="T18" fmla="*/ 0 w 2"/>
              <a:gd name="T19" fmla="*/ 2147483647 h 2"/>
              <a:gd name="T20" fmla="*/ 2147483647 w 2"/>
              <a:gd name="T21" fmla="*/ 2147483647 h 2"/>
              <a:gd name="T22" fmla="*/ 2147483647 w 2"/>
              <a:gd name="T23" fmla="*/ 0 h 2"/>
              <a:gd name="T24" fmla="*/ 2147483647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2147483647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6" name="Freeform 1214">
            <a:extLst>
              <a:ext uri="{FF2B5EF4-FFF2-40B4-BE49-F238E27FC236}">
                <a16:creationId xmlns:a16="http://schemas.microsoft.com/office/drawing/2014/main" id="{8949073E-47FA-47EC-B259-B057D426433C}"/>
              </a:ext>
            </a:extLst>
          </p:cNvPr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2147483647 h 2"/>
              <a:gd name="T2" fmla="*/ 2147483647 w 2"/>
              <a:gd name="T3" fmla="*/ 2147483647 h 2"/>
              <a:gd name="T4" fmla="*/ 0 w 2"/>
              <a:gd name="T5" fmla="*/ 0 h 2"/>
              <a:gd name="T6" fmla="*/ 0 w 2"/>
              <a:gd name="T7" fmla="*/ 2147483647 h 2"/>
              <a:gd name="T8" fmla="*/ 0 w 2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7" name="Rectangle 1215">
            <a:extLst>
              <a:ext uri="{FF2B5EF4-FFF2-40B4-BE49-F238E27FC236}">
                <a16:creationId xmlns:a16="http://schemas.microsoft.com/office/drawing/2014/main" id="{C9EC1F35-2002-4149-A579-EF11C8394B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28" name="Freeform 1217">
            <a:extLst>
              <a:ext uri="{FF2B5EF4-FFF2-40B4-BE49-F238E27FC236}">
                <a16:creationId xmlns:a16="http://schemas.microsoft.com/office/drawing/2014/main" id="{70DA9AFC-9F04-4B5F-8631-B8D87C1F1088}"/>
              </a:ext>
            </a:extLst>
          </p:cNvPr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9" name="Freeform 1219">
            <a:extLst>
              <a:ext uri="{FF2B5EF4-FFF2-40B4-BE49-F238E27FC236}">
                <a16:creationId xmlns:a16="http://schemas.microsoft.com/office/drawing/2014/main" id="{0C191B0B-86A9-45FD-AF75-B5AAB4CB5E81}"/>
              </a:ext>
            </a:extLst>
          </p:cNvPr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0" name="Freeform 1221">
            <a:extLst>
              <a:ext uri="{FF2B5EF4-FFF2-40B4-BE49-F238E27FC236}">
                <a16:creationId xmlns:a16="http://schemas.microsoft.com/office/drawing/2014/main" id="{36DF7B13-9987-4A53-875E-86CAE5E02878}"/>
              </a:ext>
            </a:extLst>
          </p:cNvPr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>
              <a:gd name="T0" fmla="*/ 2147483647 w 2"/>
              <a:gd name="T1" fmla="*/ 0 h 2"/>
              <a:gd name="T2" fmla="*/ 2147483647 w 2"/>
              <a:gd name="T3" fmla="*/ 0 h 2"/>
              <a:gd name="T4" fmla="*/ 2147483647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2147483647 h 2"/>
              <a:gd name="T12" fmla="*/ 2147483647 w 2"/>
              <a:gd name="T13" fmla="*/ 0 h 2"/>
              <a:gd name="T14" fmla="*/ 2147483647 w 2"/>
              <a:gd name="T15" fmla="*/ 0 h 2"/>
              <a:gd name="T16" fmla="*/ 2147483647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2147483647 h 2"/>
              <a:gd name="T24" fmla="*/ 2147483647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1" name="Freeform 1234">
            <a:extLst>
              <a:ext uri="{FF2B5EF4-FFF2-40B4-BE49-F238E27FC236}">
                <a16:creationId xmlns:a16="http://schemas.microsoft.com/office/drawing/2014/main" id="{87EBB480-8ECE-45DA-A8C0-6A4609EDF452}"/>
              </a:ext>
            </a:extLst>
          </p:cNvPr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2147483647 w 2"/>
              <a:gd name="T5" fmla="*/ 0 h 1587"/>
              <a:gd name="T6" fmla="*/ 2147483647 w 2"/>
              <a:gd name="T7" fmla="*/ 0 h 1587"/>
              <a:gd name="T8" fmla="*/ 2147483647 w 2"/>
              <a:gd name="T9" fmla="*/ 0 h 1587"/>
              <a:gd name="T10" fmla="*/ 2147483647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2147483647 w 2"/>
              <a:gd name="T25" fmla="*/ 0 h 1587"/>
              <a:gd name="T26" fmla="*/ 2147483647 w 2"/>
              <a:gd name="T27" fmla="*/ 0 h 1587"/>
              <a:gd name="T28" fmla="*/ 2147483647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2147483647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" name="Line 1237">
            <a:extLst>
              <a:ext uri="{FF2B5EF4-FFF2-40B4-BE49-F238E27FC236}">
                <a16:creationId xmlns:a16="http://schemas.microsoft.com/office/drawing/2014/main" id="{C0B904BD-FCF6-47EA-8199-6E59D396DFC6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3" name="Line 1238">
            <a:extLst>
              <a:ext uri="{FF2B5EF4-FFF2-40B4-BE49-F238E27FC236}">
                <a16:creationId xmlns:a16="http://schemas.microsoft.com/office/drawing/2014/main" id="{30C241D3-9CEE-4DF2-A6B1-14A1627FCF86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4" name="Freeform 1240">
            <a:extLst>
              <a:ext uri="{FF2B5EF4-FFF2-40B4-BE49-F238E27FC236}">
                <a16:creationId xmlns:a16="http://schemas.microsoft.com/office/drawing/2014/main" id="{F860D8A0-708A-405D-8B62-22C11FDD72EB}"/>
              </a:ext>
            </a:extLst>
          </p:cNvPr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>
              <a:gd name="T0" fmla="*/ 0 w 1587"/>
              <a:gd name="T1" fmla="*/ 2147483647 h 2"/>
              <a:gd name="T2" fmla="*/ 0 w 1587"/>
              <a:gd name="T3" fmla="*/ 2147483647 h 2"/>
              <a:gd name="T4" fmla="*/ 0 w 1587"/>
              <a:gd name="T5" fmla="*/ 0 h 2"/>
              <a:gd name="T6" fmla="*/ 0 w 1587"/>
              <a:gd name="T7" fmla="*/ 2147483647 h 2"/>
              <a:gd name="T8" fmla="*/ 0 w 1587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5" name="Freeform 1243">
            <a:extLst>
              <a:ext uri="{FF2B5EF4-FFF2-40B4-BE49-F238E27FC236}">
                <a16:creationId xmlns:a16="http://schemas.microsoft.com/office/drawing/2014/main" id="{F8D86008-2931-4645-B707-FE51BEC385AB}"/>
              </a:ext>
            </a:extLst>
          </p:cNvPr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>
              <a:gd name="T0" fmla="*/ 2147483647 w 2"/>
              <a:gd name="T1" fmla="*/ 2147483647 h 2"/>
              <a:gd name="T2" fmla="*/ 2147483647 w 2"/>
              <a:gd name="T3" fmla="*/ 2147483647 h 2"/>
              <a:gd name="T4" fmla="*/ 2147483647 w 2"/>
              <a:gd name="T5" fmla="*/ 2147483647 h 2"/>
              <a:gd name="T6" fmla="*/ 2147483647 w 2"/>
              <a:gd name="T7" fmla="*/ 2147483647 h 2"/>
              <a:gd name="T8" fmla="*/ 0 w 2"/>
              <a:gd name="T9" fmla="*/ 2147483647 h 2"/>
              <a:gd name="T10" fmla="*/ 0 w 2"/>
              <a:gd name="T11" fmla="*/ 2147483647 h 2"/>
              <a:gd name="T12" fmla="*/ 2147483647 w 2"/>
              <a:gd name="T13" fmla="*/ 2147483647 h 2"/>
              <a:gd name="T14" fmla="*/ 0 w 2"/>
              <a:gd name="T15" fmla="*/ 2147483647 h 2"/>
              <a:gd name="T16" fmla="*/ 0 w 2"/>
              <a:gd name="T17" fmla="*/ 2147483647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0 w 2"/>
              <a:gd name="T25" fmla="*/ 2147483647 h 2"/>
              <a:gd name="T26" fmla="*/ 0 w 2"/>
              <a:gd name="T27" fmla="*/ 2147483647 h 2"/>
              <a:gd name="T28" fmla="*/ 0 w 2"/>
              <a:gd name="T29" fmla="*/ 2147483647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2147483647 h 2"/>
              <a:gd name="T38" fmla="*/ 2147483647 w 2"/>
              <a:gd name="T39" fmla="*/ 2147483647 h 2"/>
              <a:gd name="T40" fmla="*/ 2147483647 w 2"/>
              <a:gd name="T41" fmla="*/ 2147483647 h 2"/>
              <a:gd name="T42" fmla="*/ 2147483647 w 2"/>
              <a:gd name="T43" fmla="*/ 2147483647 h 2"/>
              <a:gd name="T44" fmla="*/ 2147483647 w 2"/>
              <a:gd name="T45" fmla="*/ 2147483647 h 2"/>
              <a:gd name="T46" fmla="*/ 2147483647 w 2"/>
              <a:gd name="T47" fmla="*/ 2147483647 h 2"/>
              <a:gd name="T48" fmla="*/ 0 w 2"/>
              <a:gd name="T49" fmla="*/ 0 h 2"/>
              <a:gd name="T50" fmla="*/ 0 w 2"/>
              <a:gd name="T51" fmla="*/ 2147483647 h 2"/>
              <a:gd name="T52" fmla="*/ 0 w 2"/>
              <a:gd name="T53" fmla="*/ 2147483647 h 2"/>
              <a:gd name="T54" fmla="*/ 0 w 2"/>
              <a:gd name="T55" fmla="*/ 2147483647 h 2"/>
              <a:gd name="T56" fmla="*/ 2147483647 w 2"/>
              <a:gd name="T57" fmla="*/ 2147483647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6" name="Freeform 1246">
            <a:extLst>
              <a:ext uri="{FF2B5EF4-FFF2-40B4-BE49-F238E27FC236}">
                <a16:creationId xmlns:a16="http://schemas.microsoft.com/office/drawing/2014/main" id="{62B0D70F-3E1F-4084-B861-CC826250E997}"/>
              </a:ext>
            </a:extLst>
          </p:cNvPr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0 h 2"/>
              <a:gd name="T6" fmla="*/ 2147483647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2147483647 h 2"/>
              <a:gd name="T14" fmla="*/ 0 w 2"/>
              <a:gd name="T15" fmla="*/ 2147483647 h 2"/>
              <a:gd name="T16" fmla="*/ 2147483647 w 2"/>
              <a:gd name="T17" fmla="*/ 0 h 2"/>
              <a:gd name="T18" fmla="*/ 2147483647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2147483647 h 2"/>
              <a:gd name="T48" fmla="*/ 0 w 2"/>
              <a:gd name="T49" fmla="*/ 2147483647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7" name="Freeform 1250">
            <a:extLst>
              <a:ext uri="{FF2B5EF4-FFF2-40B4-BE49-F238E27FC236}">
                <a16:creationId xmlns:a16="http://schemas.microsoft.com/office/drawing/2014/main" id="{1E562536-1620-4CC1-B39B-60AF40D7BB6F}"/>
              </a:ext>
            </a:extLst>
          </p:cNvPr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>
              <a:gd name="T0" fmla="*/ 2147483647 w 2"/>
              <a:gd name="T1" fmla="*/ 0 h 1588"/>
              <a:gd name="T2" fmla="*/ 0 w 2"/>
              <a:gd name="T3" fmla="*/ 0 h 1588"/>
              <a:gd name="T4" fmla="*/ 2147483647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8" name="Freeform 1252">
            <a:extLst>
              <a:ext uri="{FF2B5EF4-FFF2-40B4-BE49-F238E27FC236}">
                <a16:creationId xmlns:a16="http://schemas.microsoft.com/office/drawing/2014/main" id="{A7953C10-A400-4069-BCDB-90B6F310B402}"/>
              </a:ext>
            </a:extLst>
          </p:cNvPr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>
              <a:gd name="T0" fmla="*/ 2147483647 w 2"/>
              <a:gd name="T1" fmla="*/ 2147483647 h 5"/>
              <a:gd name="T2" fmla="*/ 2147483647 w 2"/>
              <a:gd name="T3" fmla="*/ 2147483647 h 5"/>
              <a:gd name="T4" fmla="*/ 0 w 2"/>
              <a:gd name="T5" fmla="*/ 0 h 5"/>
              <a:gd name="T6" fmla="*/ 0 w 2"/>
              <a:gd name="T7" fmla="*/ 2147483647 h 5"/>
              <a:gd name="T8" fmla="*/ 0 w 2"/>
              <a:gd name="T9" fmla="*/ 2147483647 h 5"/>
              <a:gd name="T10" fmla="*/ 2147483647 w 2"/>
              <a:gd name="T11" fmla="*/ 2147483647 h 5"/>
              <a:gd name="T12" fmla="*/ 2147483647 w 2"/>
              <a:gd name="T13" fmla="*/ 2147483647 h 5"/>
              <a:gd name="T14" fmla="*/ 2147483647 w 2"/>
              <a:gd name="T15" fmla="*/ 2147483647 h 5"/>
              <a:gd name="T16" fmla="*/ 0 w 2"/>
              <a:gd name="T17" fmla="*/ 0 h 5"/>
              <a:gd name="T18" fmla="*/ 0 w 2"/>
              <a:gd name="T19" fmla="*/ 2147483647 h 5"/>
              <a:gd name="T20" fmla="*/ 0 w 2"/>
              <a:gd name="T21" fmla="*/ 2147483647 h 5"/>
              <a:gd name="T22" fmla="*/ 2147483647 w 2"/>
              <a:gd name="T23" fmla="*/ 2147483647 h 5"/>
              <a:gd name="T24" fmla="*/ 2147483647 w 2"/>
              <a:gd name="T25" fmla="*/ 2147483647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9" name="Freeform 1255">
            <a:extLst>
              <a:ext uri="{FF2B5EF4-FFF2-40B4-BE49-F238E27FC236}">
                <a16:creationId xmlns:a16="http://schemas.microsoft.com/office/drawing/2014/main" id="{74316169-67AC-4346-80A0-45E5EF2F62DC}"/>
              </a:ext>
            </a:extLst>
          </p:cNvPr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2147483647 w 2"/>
              <a:gd name="T3" fmla="*/ 0 h 1587"/>
              <a:gd name="T4" fmla="*/ 2147483647 w 2"/>
              <a:gd name="T5" fmla="*/ 0 h 1587"/>
              <a:gd name="T6" fmla="*/ 2147483647 w 2"/>
              <a:gd name="T7" fmla="*/ 0 h 1587"/>
              <a:gd name="T8" fmla="*/ 2147483647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2147483647 w 2"/>
              <a:gd name="T19" fmla="*/ 0 h 1587"/>
              <a:gd name="T20" fmla="*/ 2147483647 w 2"/>
              <a:gd name="T21" fmla="*/ 0 h 1587"/>
              <a:gd name="T22" fmla="*/ 2147483647 w 2"/>
              <a:gd name="T23" fmla="*/ 0 h 1587"/>
              <a:gd name="T24" fmla="*/ 2147483647 w 2"/>
              <a:gd name="T25" fmla="*/ 0 h 1587"/>
              <a:gd name="T26" fmla="*/ 2147483647 w 2"/>
              <a:gd name="T27" fmla="*/ 0 h 1587"/>
              <a:gd name="T28" fmla="*/ 2147483647 w 2"/>
              <a:gd name="T29" fmla="*/ 0 h 1587"/>
              <a:gd name="T30" fmla="*/ 2147483647 w 2"/>
              <a:gd name="T31" fmla="*/ 0 h 1587"/>
              <a:gd name="T32" fmla="*/ 2147483647 w 2"/>
              <a:gd name="T33" fmla="*/ 0 h 1587"/>
              <a:gd name="T34" fmla="*/ 2147483647 w 2"/>
              <a:gd name="T35" fmla="*/ 0 h 1587"/>
              <a:gd name="T36" fmla="*/ 2147483647 w 2"/>
              <a:gd name="T37" fmla="*/ 0 h 1587"/>
              <a:gd name="T38" fmla="*/ 2147483647 w 2"/>
              <a:gd name="T39" fmla="*/ 0 h 1587"/>
              <a:gd name="T40" fmla="*/ 2147483647 w 2"/>
              <a:gd name="T41" fmla="*/ 0 h 1587"/>
              <a:gd name="T42" fmla="*/ 2147483647 w 2"/>
              <a:gd name="T43" fmla="*/ 0 h 1587"/>
              <a:gd name="T44" fmla="*/ 2147483647 w 2"/>
              <a:gd name="T45" fmla="*/ 0 h 1587"/>
              <a:gd name="T46" fmla="*/ 2147483647 w 2"/>
              <a:gd name="T47" fmla="*/ 0 h 1587"/>
              <a:gd name="T48" fmla="*/ 2147483647 w 2"/>
              <a:gd name="T49" fmla="*/ 0 h 1587"/>
              <a:gd name="T50" fmla="*/ 2147483647 w 2"/>
              <a:gd name="T51" fmla="*/ 0 h 1587"/>
              <a:gd name="T52" fmla="*/ 2147483647 w 2"/>
              <a:gd name="T53" fmla="*/ 0 h 1587"/>
              <a:gd name="T54" fmla="*/ 2147483647 w 2"/>
              <a:gd name="T55" fmla="*/ 0 h 1587"/>
              <a:gd name="T56" fmla="*/ 2147483647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0" name="Rectangle 1256">
            <a:extLst>
              <a:ext uri="{FF2B5EF4-FFF2-40B4-BE49-F238E27FC236}">
                <a16:creationId xmlns:a16="http://schemas.microsoft.com/office/drawing/2014/main" id="{71F8F222-321F-41BE-8A3F-98C830F64D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41" name="Freeform 1258">
            <a:extLst>
              <a:ext uri="{FF2B5EF4-FFF2-40B4-BE49-F238E27FC236}">
                <a16:creationId xmlns:a16="http://schemas.microsoft.com/office/drawing/2014/main" id="{4EA3C75F-7134-4B73-98F8-D138DEBD5F8B}"/>
              </a:ext>
            </a:extLst>
          </p:cNvPr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2" name="Freeform 1266">
            <a:extLst>
              <a:ext uri="{FF2B5EF4-FFF2-40B4-BE49-F238E27FC236}">
                <a16:creationId xmlns:a16="http://schemas.microsoft.com/office/drawing/2014/main" id="{3E4A7133-D396-4AD7-BD5C-42CF34176AF1}"/>
              </a:ext>
            </a:extLst>
          </p:cNvPr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3" name="Freeform 1269">
            <a:extLst>
              <a:ext uri="{FF2B5EF4-FFF2-40B4-BE49-F238E27FC236}">
                <a16:creationId xmlns:a16="http://schemas.microsoft.com/office/drawing/2014/main" id="{765E1B6F-25B2-4203-83E6-C59805B9C5F0}"/>
              </a:ext>
            </a:extLst>
          </p:cNvPr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>
              <a:gd name="T0" fmla="*/ 0 w 2"/>
              <a:gd name="T1" fmla="*/ 2147483647 h 3"/>
              <a:gd name="T2" fmla="*/ 2147483647 w 2"/>
              <a:gd name="T3" fmla="*/ 0 h 3"/>
              <a:gd name="T4" fmla="*/ 2147483647 w 2"/>
              <a:gd name="T5" fmla="*/ 0 h 3"/>
              <a:gd name="T6" fmla="*/ 2147483647 w 2"/>
              <a:gd name="T7" fmla="*/ 0 h 3"/>
              <a:gd name="T8" fmla="*/ 2147483647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2147483647 h 3"/>
              <a:gd name="T16" fmla="*/ 0 w 2"/>
              <a:gd name="T17" fmla="*/ 2147483647 h 3"/>
              <a:gd name="T18" fmla="*/ 2147483647 w 2"/>
              <a:gd name="T19" fmla="*/ 0 h 3"/>
              <a:gd name="T20" fmla="*/ 2147483647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2147483647 h 3"/>
              <a:gd name="T40" fmla="*/ 0 w 2"/>
              <a:gd name="T41" fmla="*/ 2147483647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4" name="Line 1270">
            <a:extLst>
              <a:ext uri="{FF2B5EF4-FFF2-40B4-BE49-F238E27FC236}">
                <a16:creationId xmlns:a16="http://schemas.microsoft.com/office/drawing/2014/main" id="{E613D3A9-A47D-4AE8-8BA0-3D244922D689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5" name="Line 1271">
            <a:extLst>
              <a:ext uri="{FF2B5EF4-FFF2-40B4-BE49-F238E27FC236}">
                <a16:creationId xmlns:a16="http://schemas.microsoft.com/office/drawing/2014/main" id="{4D8743BF-5717-4B66-B985-3937A1A11D4C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6" name="Rectangle 1272">
            <a:extLst>
              <a:ext uri="{FF2B5EF4-FFF2-40B4-BE49-F238E27FC236}">
                <a16:creationId xmlns:a16="http://schemas.microsoft.com/office/drawing/2014/main" id="{FD653BE8-74C7-4793-AF42-5A9B4CB8F4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47" name="Rectangle 1273">
            <a:extLst>
              <a:ext uri="{FF2B5EF4-FFF2-40B4-BE49-F238E27FC236}">
                <a16:creationId xmlns:a16="http://schemas.microsoft.com/office/drawing/2014/main" id="{1CB282A9-AB0A-4B0D-B679-D7DC6A9A15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48" name="Line 1274">
            <a:extLst>
              <a:ext uri="{FF2B5EF4-FFF2-40B4-BE49-F238E27FC236}">
                <a16:creationId xmlns:a16="http://schemas.microsoft.com/office/drawing/2014/main" id="{7FDD4138-258F-4B6C-B39B-CB29D3A27E62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" name="Line 1275">
            <a:extLst>
              <a:ext uri="{FF2B5EF4-FFF2-40B4-BE49-F238E27FC236}">
                <a16:creationId xmlns:a16="http://schemas.microsoft.com/office/drawing/2014/main" id="{E406F2F8-1C26-4939-9DF4-93F303EACDC2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0" name="Freeform 1277">
            <a:extLst>
              <a:ext uri="{FF2B5EF4-FFF2-40B4-BE49-F238E27FC236}">
                <a16:creationId xmlns:a16="http://schemas.microsoft.com/office/drawing/2014/main" id="{93349CA1-7328-48EE-8556-B292F5316599}"/>
              </a:ext>
            </a:extLst>
          </p:cNvPr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>
              <a:gd name="T0" fmla="*/ 0 w 1587"/>
              <a:gd name="T1" fmla="*/ 2147483647 h 2"/>
              <a:gd name="T2" fmla="*/ 0 w 1587"/>
              <a:gd name="T3" fmla="*/ 2147483647 h 2"/>
              <a:gd name="T4" fmla="*/ 0 w 1587"/>
              <a:gd name="T5" fmla="*/ 0 h 2"/>
              <a:gd name="T6" fmla="*/ 0 w 1587"/>
              <a:gd name="T7" fmla="*/ 2147483647 h 2"/>
              <a:gd name="T8" fmla="*/ 0 w 1587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1" name="Freeform 1287">
            <a:extLst>
              <a:ext uri="{FF2B5EF4-FFF2-40B4-BE49-F238E27FC236}">
                <a16:creationId xmlns:a16="http://schemas.microsoft.com/office/drawing/2014/main" id="{243A2CDF-1A9E-44C1-9A8E-26933612B46B}"/>
              </a:ext>
            </a:extLst>
          </p:cNvPr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2147483647 h 2"/>
              <a:gd name="T4" fmla="*/ 2147483647 w 2"/>
              <a:gd name="T5" fmla="*/ 2147483647 h 2"/>
              <a:gd name="T6" fmla="*/ 2147483647 w 2"/>
              <a:gd name="T7" fmla="*/ 2147483647 h 2"/>
              <a:gd name="T8" fmla="*/ 2147483647 w 2"/>
              <a:gd name="T9" fmla="*/ 2147483647 h 2"/>
              <a:gd name="T10" fmla="*/ 2147483647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2147483647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2147483647 w 2"/>
              <a:gd name="T25" fmla="*/ 2147483647 h 2"/>
              <a:gd name="T26" fmla="*/ 2147483647 w 2"/>
              <a:gd name="T27" fmla="*/ 2147483647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2" name="Freeform 1290">
            <a:extLst>
              <a:ext uri="{FF2B5EF4-FFF2-40B4-BE49-F238E27FC236}">
                <a16:creationId xmlns:a16="http://schemas.microsoft.com/office/drawing/2014/main" id="{9E2745E2-E57C-49B9-8A13-28C8DE111D7B}"/>
              </a:ext>
            </a:extLst>
          </p:cNvPr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2147483647 h 2"/>
              <a:gd name="T6" fmla="*/ 2147483647 w 2"/>
              <a:gd name="T7" fmla="*/ 2147483647 h 2"/>
              <a:gd name="T8" fmla="*/ 2147483647 w 2"/>
              <a:gd name="T9" fmla="*/ 2147483647 h 2"/>
              <a:gd name="T10" fmla="*/ 2147483647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2147483647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2147483647 h 2"/>
              <a:gd name="T50" fmla="*/ 2147483647 w 2"/>
              <a:gd name="T51" fmla="*/ 2147483647 h 2"/>
              <a:gd name="T52" fmla="*/ 2147483647 w 2"/>
              <a:gd name="T53" fmla="*/ 0 h 2"/>
              <a:gd name="T54" fmla="*/ 2147483647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2147483647 h 2"/>
              <a:gd name="T62" fmla="*/ 0 w 2"/>
              <a:gd name="T63" fmla="*/ 2147483647 h 2"/>
              <a:gd name="T64" fmla="*/ 2147483647 w 2"/>
              <a:gd name="T65" fmla="*/ 2147483647 h 2"/>
              <a:gd name="T66" fmla="*/ 2147483647 w 2"/>
              <a:gd name="T67" fmla="*/ 2147483647 h 2"/>
              <a:gd name="T68" fmla="*/ 0 w 2"/>
              <a:gd name="T69" fmla="*/ 2147483647 h 2"/>
              <a:gd name="T70" fmla="*/ 0 w 2"/>
              <a:gd name="T71" fmla="*/ 2147483647 h 2"/>
              <a:gd name="T72" fmla="*/ 0 w 2"/>
              <a:gd name="T73" fmla="*/ 2147483647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3" name="Rectangle 1335">
            <a:extLst>
              <a:ext uri="{FF2B5EF4-FFF2-40B4-BE49-F238E27FC236}">
                <a16:creationId xmlns:a16="http://schemas.microsoft.com/office/drawing/2014/main" id="{E86D7443-57D0-4BCD-AEC5-C3001C44DE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4" name="Rectangle 1336">
            <a:extLst>
              <a:ext uri="{FF2B5EF4-FFF2-40B4-BE49-F238E27FC236}">
                <a16:creationId xmlns:a16="http://schemas.microsoft.com/office/drawing/2014/main" id="{DBA0137C-CF52-41B7-B16D-E6CEB45E87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5" name="Rectangle 1337">
            <a:extLst>
              <a:ext uri="{FF2B5EF4-FFF2-40B4-BE49-F238E27FC236}">
                <a16:creationId xmlns:a16="http://schemas.microsoft.com/office/drawing/2014/main" id="{7935FE64-4D56-4F5F-BCCD-B1CD4AEAF5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6" name="Rectangle 1340">
            <a:extLst>
              <a:ext uri="{FF2B5EF4-FFF2-40B4-BE49-F238E27FC236}">
                <a16:creationId xmlns:a16="http://schemas.microsoft.com/office/drawing/2014/main" id="{221B4476-1E08-4644-9E70-282F88ED9A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7" name="Rectangle 1341">
            <a:extLst>
              <a:ext uri="{FF2B5EF4-FFF2-40B4-BE49-F238E27FC236}">
                <a16:creationId xmlns:a16="http://schemas.microsoft.com/office/drawing/2014/main" id="{5CE4AD47-E95F-484C-8383-B20548A028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8" name="Rectangle 1342">
            <a:extLst>
              <a:ext uri="{FF2B5EF4-FFF2-40B4-BE49-F238E27FC236}">
                <a16:creationId xmlns:a16="http://schemas.microsoft.com/office/drawing/2014/main" id="{C1003F0D-BDEC-4549-8A4E-31B1900AA1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9" name="Rectangle 1343">
            <a:extLst>
              <a:ext uri="{FF2B5EF4-FFF2-40B4-BE49-F238E27FC236}">
                <a16:creationId xmlns:a16="http://schemas.microsoft.com/office/drawing/2014/main" id="{4A9A9D02-D19B-4622-ABE8-8DA40E854F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60" name="Rectangle 1344">
            <a:extLst>
              <a:ext uri="{FF2B5EF4-FFF2-40B4-BE49-F238E27FC236}">
                <a16:creationId xmlns:a16="http://schemas.microsoft.com/office/drawing/2014/main" id="{B57CA1B4-B092-4016-83B4-589BAE3561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61" name="Rectangle 67">
            <a:extLst>
              <a:ext uri="{FF2B5EF4-FFF2-40B4-BE49-F238E27FC236}">
                <a16:creationId xmlns:a16="http://schemas.microsoft.com/office/drawing/2014/main" id="{EFA6E290-CA5B-424A-9E11-7A5992CD75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2828925"/>
            <a:ext cx="9144000" cy="176213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solidFill>
                <a:schemeClr val="bg1"/>
              </a:solidFill>
              <a:cs typeface="+mn-cs"/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865910" y="1306550"/>
            <a:ext cx="7296726" cy="1450437"/>
          </a:xfrm>
        </p:spPr>
        <p:txBody>
          <a:bodyPr/>
          <a:lstStyle>
            <a:lvl1pPr>
              <a:defRPr sz="3800" b="1" cap="none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851104" y="3074088"/>
            <a:ext cx="7328771" cy="239749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3000" b="0" i="0" cap="none" baseline="0">
                <a:solidFill>
                  <a:schemeClr val="tx1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11448663"/>
      </p:ext>
    </p:extLst>
  </p:cSld>
  <p:clrMapOvr>
    <a:masterClrMapping/>
  </p:clrMapOvr>
  <p:hf hd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3" y="288636"/>
            <a:ext cx="8533067" cy="461819"/>
          </a:xfrm>
        </p:spPr>
        <p:txBody>
          <a:bodyPr/>
          <a:lstStyle>
            <a:lvl1pPr>
              <a:defRPr sz="2200" b="0" i="0" baseline="0">
                <a:solidFill>
                  <a:schemeClr val="tx1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3"/>
          </p:nvPr>
        </p:nvSpPr>
        <p:spPr>
          <a:xfrm>
            <a:off x="349779" y="968964"/>
            <a:ext cx="8529637" cy="5249906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</a:lstStyle>
          <a:p>
            <a:pPr lvl="0"/>
            <a:endParaRPr lang="en-US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080BBF-1130-492B-8345-858BE537FD8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fld id="{F998CC37-4E3F-4130-86BA-9F256AB0C0E3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64D53C-7535-4621-AFA7-7A0AA33DD89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3260782398"/>
      </p:ext>
    </p:extLst>
  </p:cSld>
  <p:clrMapOvr>
    <a:masterClrMapping/>
  </p:clrMapOvr>
  <p:hf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ark 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2DDCD659-8A1E-43D1-A303-AC7DA1BB421F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0" y="0"/>
            <a:ext cx="9144000" cy="4479925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578C439-90F1-4B6F-8D04-9B769F77E2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4302125"/>
            <a:ext cx="9144000" cy="176213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solidFill>
                <a:schemeClr val="bg1"/>
              </a:solidFill>
              <a:cs typeface="+mn-cs"/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1396005" y="1189789"/>
            <a:ext cx="7039470" cy="1822161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1408676" y="3000005"/>
            <a:ext cx="7026799" cy="121104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rgbClr val="FFFFFF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0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508000" y="4699001"/>
            <a:ext cx="5058833" cy="1375832"/>
          </a:xfrm>
          <a:solidFill>
            <a:srgbClr val="FFFFFF"/>
          </a:solidFill>
        </p:spPr>
        <p:txBody>
          <a:bodyPr anchor="ctr">
            <a:normAutofit/>
          </a:bodyPr>
          <a:lstStyle>
            <a:lvl1pPr algn="ctr">
              <a:defRPr baseline="0">
                <a:solidFill>
                  <a:srgbClr val="021F43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9" name="Text Placeholder 331"/>
          <p:cNvSpPr>
            <a:spLocks noGrp="1"/>
          </p:cNvSpPr>
          <p:nvPr>
            <p:ph type="body" sz="quarter" idx="14"/>
          </p:nvPr>
        </p:nvSpPr>
        <p:spPr>
          <a:xfrm>
            <a:off x="5682073" y="4699001"/>
            <a:ext cx="2821170" cy="1393637"/>
          </a:xfrm>
        </p:spPr>
        <p:txBody>
          <a:bodyPr anchor="b"/>
          <a:lstStyle>
            <a:lvl1pPr algn="r">
              <a:lnSpc>
                <a:spcPct val="100000"/>
              </a:lnSpc>
              <a:defRPr sz="1400" b="0" i="0" baseline="0">
                <a:solidFill>
                  <a:schemeClr val="tx1"/>
                </a:solidFill>
                <a:latin typeface="+mn-lt"/>
                <a:cs typeface="Arial"/>
              </a:defRPr>
            </a:lvl1pPr>
            <a:lvl2pPr algn="r">
              <a:defRPr sz="1400" b="0" i="0">
                <a:latin typeface="+mn-l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Rectangle 1028">
            <a:extLst>
              <a:ext uri="{FF2B5EF4-FFF2-40B4-BE49-F238E27FC236}">
                <a16:creationId xmlns:a16="http://schemas.microsoft.com/office/drawing/2014/main" id="{C5546F9E-B215-488B-83F5-D1F383644CC9}"/>
              </a:ext>
            </a:extLst>
          </p:cNvPr>
          <p:cNvSpPr>
            <a:spLocks noGrp="1" noChangeArrowheads="1"/>
          </p:cNvSpPr>
          <p:nvPr>
            <p:ph type="dt" sz="half" idx="17"/>
          </p:nvPr>
        </p:nvSpPr>
        <p:spPr>
          <a:xfrm>
            <a:off x="5716588" y="6116638"/>
            <a:ext cx="2719387" cy="306387"/>
          </a:xfrm>
        </p:spPr>
        <p:txBody>
          <a:bodyPr rIns="0" anchor="ctr"/>
          <a:lstStyle>
            <a:lvl1pPr algn="r">
              <a:defRPr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5986698"/>
      </p:ext>
    </p:extLst>
  </p:cSld>
  <p:clrMapOvr>
    <a:masterClrMapping/>
  </p:clrMapOvr>
  <p:hf hd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Short Title and 1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/>
          <p:cNvSpPr>
            <a:spLocks noGrp="1"/>
          </p:cNvSpPr>
          <p:nvPr>
            <p:ph idx="1" hasCustomPrompt="1"/>
          </p:nvPr>
        </p:nvSpPr>
        <p:spPr bwMode="blackWhite">
          <a:xfrm>
            <a:off x="415926" y="1819275"/>
            <a:ext cx="8315324" cy="4129086"/>
          </a:xfrm>
        </p:spPr>
        <p:txBody>
          <a:bodyPr lIns="143858" tIns="35961" rIns="143858"/>
          <a:lstStyle>
            <a:lvl1pPr marL="342553" indent="-342553">
              <a:buFont typeface="Arial" panose="020B0604020202020204" pitchFamily="34" charset="0"/>
              <a:buChar char="•"/>
              <a:defRPr sz="21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 bwMode="blackWhite">
          <a:xfrm>
            <a:off x="415925" y="1320800"/>
            <a:ext cx="8315325" cy="50165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3858" tIns="107896" rIns="143858" bIns="0" numCol="1" anchor="t" anchorCtr="0" compatLnSpc="1">
            <a:prstTxWarp prst="textNoShape">
              <a:avLst/>
            </a:prstTxWarp>
          </a:bodyPr>
          <a:lstStyle>
            <a:lvl1pPr>
              <a:defRPr lang="en-US" sz="2100" b="1" dirty="0" smtClean="0">
                <a:solidFill>
                  <a:srgbClr val="ECBED3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itle 3"/>
          <p:cNvSpPr>
            <a:spLocks noGrp="1"/>
          </p:cNvSpPr>
          <p:nvPr>
            <p:ph type="title" hasCustomPrompt="1"/>
          </p:nvPr>
        </p:nvSpPr>
        <p:spPr bwMode="blackWhite">
          <a:xfrm>
            <a:off x="414338" y="523875"/>
            <a:ext cx="8315325" cy="797611"/>
          </a:xfrm>
        </p:spPr>
        <p:txBody>
          <a:bodyPr anchor="ctr"/>
          <a:lstStyle>
            <a:lvl1pPr>
              <a:defRPr sz="2800"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short title tex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77033691"/>
      </p:ext>
    </p:extLst>
  </p:cSld>
  <p:clrMapOvr>
    <a:masterClrMapping/>
  </p:clrMapOvr>
  <p:hf hd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ght 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0CF1B245-662B-4CE9-8D7B-DDF0A1C3FEDF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0" y="0"/>
            <a:ext cx="9144000" cy="4479925"/>
          </a:xfrm>
          <a:prstGeom prst="rect">
            <a:avLst/>
          </a:prstGeom>
          <a:solidFill>
            <a:srgbClr val="139A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6C14DB2-16F3-445D-9D26-8EB45FE3D1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4311650"/>
            <a:ext cx="9144000" cy="176213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solidFill>
                <a:schemeClr val="bg1"/>
              </a:solidFill>
              <a:cs typeface="+mn-cs"/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1512623" y="1189789"/>
            <a:ext cx="6971806" cy="1822161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1525172" y="3000005"/>
            <a:ext cx="6959257" cy="87588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rgbClr val="FFFFFF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9" name="Text Placeholder 331"/>
          <p:cNvSpPr>
            <a:spLocks noGrp="1"/>
          </p:cNvSpPr>
          <p:nvPr>
            <p:ph type="body" sz="quarter" idx="14"/>
          </p:nvPr>
        </p:nvSpPr>
        <p:spPr>
          <a:xfrm>
            <a:off x="5682073" y="4699001"/>
            <a:ext cx="2821170" cy="1393637"/>
          </a:xfrm>
        </p:spPr>
        <p:txBody>
          <a:bodyPr anchor="b"/>
          <a:lstStyle>
            <a:lvl1pPr marL="0" marR="0" indent="0" algn="r" defTabSz="914400" rtl="0" eaLnBrk="1" fontAlgn="base" latinLnBrk="0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SzTx/>
              <a:buFontTx/>
              <a:buNone/>
              <a:tabLst/>
              <a:defRPr sz="1400" b="0" i="0" baseline="0">
                <a:solidFill>
                  <a:schemeClr val="tx1"/>
                </a:solidFill>
                <a:latin typeface="+mn-lt"/>
                <a:cs typeface="Arial"/>
              </a:defRPr>
            </a:lvl1pPr>
            <a:lvl2pPr marL="0" marR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SzTx/>
              <a:buFont typeface="Wingdings" charset="0"/>
              <a:buNone/>
              <a:tabLst/>
              <a:defRPr sz="1400" b="0" i="0">
                <a:latin typeface="+mn-l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0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508000" y="4699001"/>
            <a:ext cx="5058833" cy="1375832"/>
          </a:xfrm>
          <a:solidFill>
            <a:srgbClr val="FFFFFF"/>
          </a:solidFill>
        </p:spPr>
        <p:txBody>
          <a:bodyPr anchor="ctr">
            <a:normAutofit/>
          </a:bodyPr>
          <a:lstStyle>
            <a:lvl1pPr algn="ctr">
              <a:defRPr baseline="0">
                <a:solidFill>
                  <a:srgbClr val="021F43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8" name="Rectangle 1028">
            <a:extLst>
              <a:ext uri="{FF2B5EF4-FFF2-40B4-BE49-F238E27FC236}">
                <a16:creationId xmlns:a16="http://schemas.microsoft.com/office/drawing/2014/main" id="{15D8C0E8-0E0C-42DA-A1A0-ED2E45DB1A7E}"/>
              </a:ext>
            </a:extLst>
          </p:cNvPr>
          <p:cNvSpPr>
            <a:spLocks noGrp="1" noChangeArrowheads="1"/>
          </p:cNvSpPr>
          <p:nvPr>
            <p:ph type="dt" sz="half" idx="17"/>
          </p:nvPr>
        </p:nvSpPr>
        <p:spPr>
          <a:xfrm>
            <a:off x="5942013" y="6107113"/>
            <a:ext cx="2551112" cy="306387"/>
          </a:xfrm>
        </p:spPr>
        <p:txBody>
          <a:bodyPr rIns="0" anchor="ctr"/>
          <a:lstStyle>
            <a:lvl1pPr algn="r">
              <a:defRPr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2283950"/>
      </p:ext>
    </p:extLst>
  </p:cSld>
  <p:clrMapOvr>
    <a:masterClrMapping/>
  </p:clrMapOvr>
  <p:hf hd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4567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>
            <a:normAutofit/>
          </a:bodyPr>
          <a:lstStyle/>
          <a:p>
            <a:pPr marL="0" marR="0" lvl="0" indent="0" algn="l" defTabSz="4567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GIS and spatial analysis issues and topic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4567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2414301-F86B-6045-820F-C98268E46E62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ea typeface="MS PGothic" panose="020B0600070205080204" pitchFamily="34" charset="-128"/>
                <a:cs typeface="Arial"/>
              </a:rPr>
              <a:pPr marL="0" marR="0" lvl="0" indent="0" algn="l" defTabSz="45672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/>
              <a:ea typeface="MS PGothic" panose="020B0600070205080204" pitchFamily="34" charset="-128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2200951"/>
      </p:ext>
    </p:extLst>
  </p:cSld>
  <p:clrMapOvr>
    <a:masterClrMapping/>
  </p:clrMapOvr>
  <p:hf hd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EFE54EC-9574-448A-B6BB-07B428BEA9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100138"/>
            <a:ext cx="9144000" cy="17621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solidFill>
                <a:schemeClr val="bg1"/>
              </a:solidFill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1626"/>
            <a:ext cx="8462029" cy="756707"/>
          </a:xfrm>
        </p:spPr>
        <p:txBody>
          <a:bodyPr/>
          <a:lstStyle>
            <a:lvl1pPr>
              <a:defRPr sz="2200" b="0" i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49250" y="1598613"/>
            <a:ext cx="8477250" cy="4613804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2400"/>
              </a:spcBef>
              <a:tabLst>
                <a:tab pos="8402638" algn="r"/>
              </a:tabLst>
              <a:defRPr lang="en-US" sz="1600" smtClean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938B194C-EF5F-46CC-AD99-39125225F4F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  <p:sp>
        <p:nvSpPr>
          <p:cNvPr id="6" name="Slide Number Placeholder 7">
            <a:extLst>
              <a:ext uri="{FF2B5EF4-FFF2-40B4-BE49-F238E27FC236}">
                <a16:creationId xmlns:a16="http://schemas.microsoft.com/office/drawing/2014/main" id="{1AE48678-D0CE-4900-B7DE-CC7BF35DDA8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ADB71046-B3E1-4E85-9A22-CBE8B4AAAEA3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800192375"/>
      </p:ext>
    </p:extLst>
  </p:cSld>
  <p:clrMapOvr>
    <a:masterClrMapping/>
  </p:clrMapOvr>
  <p:hf hd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682">
            <a:extLst>
              <a:ext uri="{FF2B5EF4-FFF2-40B4-BE49-F238E27FC236}">
                <a16:creationId xmlns:a16="http://schemas.microsoft.com/office/drawing/2014/main" id="{BF74A5D1-E605-4D81-90FE-6F2B13C01768}"/>
              </a:ext>
            </a:extLst>
          </p:cNvPr>
          <p:cNvSpPr>
            <a:spLocks/>
          </p:cNvSpPr>
          <p:nvPr/>
        </p:nvSpPr>
        <p:spPr bwMode="auto">
          <a:xfrm flipH="1">
            <a:off x="6380163" y="615950"/>
            <a:ext cx="1014412" cy="1895475"/>
          </a:xfrm>
          <a:custGeom>
            <a:avLst/>
            <a:gdLst>
              <a:gd name="T0" fmla="*/ 0 w 638"/>
              <a:gd name="T1" fmla="*/ 0 h 1194"/>
              <a:gd name="T2" fmla="*/ 2147483647 w 638"/>
              <a:gd name="T3" fmla="*/ 2147483647 h 1194"/>
              <a:gd name="T4" fmla="*/ 2147483647 w 638"/>
              <a:gd name="T5" fmla="*/ 2147483647 h 1194"/>
              <a:gd name="T6" fmla="*/ 2147483647 w 638"/>
              <a:gd name="T7" fmla="*/ 2147483647 h 1194"/>
              <a:gd name="T8" fmla="*/ 2147483647 w 638"/>
              <a:gd name="T9" fmla="*/ 2147483647 h 1194"/>
              <a:gd name="T10" fmla="*/ 2147483647 w 638"/>
              <a:gd name="T11" fmla="*/ 2147483647 h 1194"/>
              <a:gd name="T12" fmla="*/ 2147483647 w 638"/>
              <a:gd name="T13" fmla="*/ 2147483647 h 1194"/>
              <a:gd name="T14" fmla="*/ 2147483647 w 638"/>
              <a:gd name="T15" fmla="*/ 2147483647 h 1194"/>
              <a:gd name="T16" fmla="*/ 2147483647 w 638"/>
              <a:gd name="T17" fmla="*/ 2147483647 h 1194"/>
              <a:gd name="T18" fmla="*/ 2147483647 w 638"/>
              <a:gd name="T19" fmla="*/ 2147483647 h 1194"/>
              <a:gd name="T20" fmla="*/ 2147483647 w 638"/>
              <a:gd name="T21" fmla="*/ 2147483647 h 1194"/>
              <a:gd name="T22" fmla="*/ 2147483647 w 638"/>
              <a:gd name="T23" fmla="*/ 2147483647 h 1194"/>
              <a:gd name="T24" fmla="*/ 2147483647 w 638"/>
              <a:gd name="T25" fmla="*/ 2147483647 h 1194"/>
              <a:gd name="T26" fmla="*/ 2147483647 w 638"/>
              <a:gd name="T27" fmla="*/ 2147483647 h 1194"/>
              <a:gd name="T28" fmla="*/ 2147483647 w 638"/>
              <a:gd name="T29" fmla="*/ 2147483647 h 1194"/>
              <a:gd name="T30" fmla="*/ 2147483647 w 638"/>
              <a:gd name="T31" fmla="*/ 2147483647 h 1194"/>
              <a:gd name="T32" fmla="*/ 2147483647 w 638"/>
              <a:gd name="T33" fmla="*/ 2147483647 h 1194"/>
              <a:gd name="T34" fmla="*/ 2147483647 w 638"/>
              <a:gd name="T35" fmla="*/ 2147483647 h 1194"/>
              <a:gd name="T36" fmla="*/ 2147483647 w 638"/>
              <a:gd name="T37" fmla="*/ 2147483647 h 1194"/>
              <a:gd name="T38" fmla="*/ 2147483647 w 638"/>
              <a:gd name="T39" fmla="*/ 2147483647 h 1194"/>
              <a:gd name="T40" fmla="*/ 2147483647 w 638"/>
              <a:gd name="T41" fmla="*/ 2147483647 h 1194"/>
              <a:gd name="T42" fmla="*/ 2147483647 w 638"/>
              <a:gd name="T43" fmla="*/ 2147483647 h 1194"/>
              <a:gd name="T44" fmla="*/ 2147483647 w 638"/>
              <a:gd name="T45" fmla="*/ 2147483647 h 1194"/>
              <a:gd name="T46" fmla="*/ 2147483647 w 638"/>
              <a:gd name="T47" fmla="*/ 2147483647 h 1194"/>
              <a:gd name="T48" fmla="*/ 2147483647 w 638"/>
              <a:gd name="T49" fmla="*/ 2147483647 h 1194"/>
              <a:gd name="T50" fmla="*/ 2147483647 w 638"/>
              <a:gd name="T51" fmla="*/ 2147483647 h 1194"/>
              <a:gd name="T52" fmla="*/ 2147483647 w 638"/>
              <a:gd name="T53" fmla="*/ 2147483647 h 1194"/>
              <a:gd name="T54" fmla="*/ 2147483647 w 638"/>
              <a:gd name="T55" fmla="*/ 2147483647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5" name="Freeform 1683">
            <a:extLst>
              <a:ext uri="{FF2B5EF4-FFF2-40B4-BE49-F238E27FC236}">
                <a16:creationId xmlns:a16="http://schemas.microsoft.com/office/drawing/2014/main" id="{01DD12B7-C629-4976-9ACD-FCC70A055E13}"/>
              </a:ext>
            </a:extLst>
          </p:cNvPr>
          <p:cNvSpPr>
            <a:spLocks/>
          </p:cNvSpPr>
          <p:nvPr/>
        </p:nvSpPr>
        <p:spPr bwMode="auto">
          <a:xfrm flipH="1">
            <a:off x="7410450" y="3175"/>
            <a:ext cx="712788" cy="584200"/>
          </a:xfrm>
          <a:custGeom>
            <a:avLst/>
            <a:gdLst>
              <a:gd name="T0" fmla="*/ 2147483647 w 448"/>
              <a:gd name="T1" fmla="*/ 2147483647 h 372"/>
              <a:gd name="T2" fmla="*/ 2147483647 w 448"/>
              <a:gd name="T3" fmla="*/ 2147483647 h 372"/>
              <a:gd name="T4" fmla="*/ 2147483647 w 448"/>
              <a:gd name="T5" fmla="*/ 2147483647 h 372"/>
              <a:gd name="T6" fmla="*/ 2147483647 w 448"/>
              <a:gd name="T7" fmla="*/ 2147483647 h 372"/>
              <a:gd name="T8" fmla="*/ 2147483647 w 448"/>
              <a:gd name="T9" fmla="*/ 2147483647 h 372"/>
              <a:gd name="T10" fmla="*/ 2147483647 w 448"/>
              <a:gd name="T11" fmla="*/ 2147483647 h 372"/>
              <a:gd name="T12" fmla="*/ 0 w 448"/>
              <a:gd name="T13" fmla="*/ 0 h 372"/>
              <a:gd name="T14" fmla="*/ 2147483647 w 448"/>
              <a:gd name="T15" fmla="*/ 0 h 372"/>
              <a:gd name="T16" fmla="*/ 2147483647 w 448"/>
              <a:gd name="T17" fmla="*/ 2147483647 h 372"/>
              <a:gd name="T18" fmla="*/ 2147483647 w 448"/>
              <a:gd name="T19" fmla="*/ 2147483647 h 372"/>
              <a:gd name="T20" fmla="*/ 2147483647 w 448"/>
              <a:gd name="T21" fmla="*/ 2147483647 h 372"/>
              <a:gd name="T22" fmla="*/ 2147483647 w 448"/>
              <a:gd name="T23" fmla="*/ 2147483647 h 372"/>
              <a:gd name="T24" fmla="*/ 2147483647 w 448"/>
              <a:gd name="T25" fmla="*/ 2147483647 h 372"/>
              <a:gd name="T26" fmla="*/ 2147483647 w 448"/>
              <a:gd name="T27" fmla="*/ 2147483647 h 372"/>
              <a:gd name="T28" fmla="*/ 2147483647 w 448"/>
              <a:gd name="T29" fmla="*/ 2147483647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" name="Line 1086">
            <a:extLst>
              <a:ext uri="{FF2B5EF4-FFF2-40B4-BE49-F238E27FC236}">
                <a16:creationId xmlns:a16="http://schemas.microsoft.com/office/drawing/2014/main" id="{3E30CA1A-7957-46D7-B31E-09AAFC950C1B}"/>
              </a:ext>
            </a:extLst>
          </p:cNvPr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" name="Line 1087">
            <a:extLst>
              <a:ext uri="{FF2B5EF4-FFF2-40B4-BE49-F238E27FC236}">
                <a16:creationId xmlns:a16="http://schemas.microsoft.com/office/drawing/2014/main" id="{904A2B60-F521-4AE2-99A1-DA654C4BCDD2}"/>
              </a:ext>
            </a:extLst>
          </p:cNvPr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" name="Rectangle 1088">
            <a:extLst>
              <a:ext uri="{FF2B5EF4-FFF2-40B4-BE49-F238E27FC236}">
                <a16:creationId xmlns:a16="http://schemas.microsoft.com/office/drawing/2014/main" id="{B7873832-0F8E-447A-AB27-F36C306C71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9" name="Rectangle 1089">
            <a:extLst>
              <a:ext uri="{FF2B5EF4-FFF2-40B4-BE49-F238E27FC236}">
                <a16:creationId xmlns:a16="http://schemas.microsoft.com/office/drawing/2014/main" id="{034F07D4-7F88-4A9D-8194-9A2627189D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10" name="Freeform 1098">
            <a:extLst>
              <a:ext uri="{FF2B5EF4-FFF2-40B4-BE49-F238E27FC236}">
                <a16:creationId xmlns:a16="http://schemas.microsoft.com/office/drawing/2014/main" id="{D443818B-EB90-429C-948F-0D1F35A9ECF2}"/>
              </a:ext>
            </a:extLst>
          </p:cNvPr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>
              <a:gd name="T0" fmla="*/ 0 w 2"/>
              <a:gd name="T1" fmla="*/ 0 h 1587"/>
              <a:gd name="T2" fmla="*/ 2147483647 w 2"/>
              <a:gd name="T3" fmla="*/ 0 h 1587"/>
              <a:gd name="T4" fmla="*/ 2147483647 w 2"/>
              <a:gd name="T5" fmla="*/ 0 h 1587"/>
              <a:gd name="T6" fmla="*/ 2147483647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2147483647 w 2"/>
              <a:gd name="T35" fmla="*/ 0 h 1587"/>
              <a:gd name="T36" fmla="*/ 2147483647 w 2"/>
              <a:gd name="T37" fmla="*/ 0 h 1587"/>
              <a:gd name="T38" fmla="*/ 2147483647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" name="Freeform 1115">
            <a:extLst>
              <a:ext uri="{FF2B5EF4-FFF2-40B4-BE49-F238E27FC236}">
                <a16:creationId xmlns:a16="http://schemas.microsoft.com/office/drawing/2014/main" id="{0736BF39-5F17-45F3-89DB-06D3A38FEEFA}"/>
              </a:ext>
            </a:extLst>
          </p:cNvPr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0 w 2"/>
              <a:gd name="T5" fmla="*/ 2147483647 h 2"/>
              <a:gd name="T6" fmla="*/ 0 w 2"/>
              <a:gd name="T7" fmla="*/ 2147483647 h 2"/>
              <a:gd name="T8" fmla="*/ 0 w 2"/>
              <a:gd name="T9" fmla="*/ 2147483647 h 2"/>
              <a:gd name="T10" fmla="*/ 0 w 2"/>
              <a:gd name="T11" fmla="*/ 2147483647 h 2"/>
              <a:gd name="T12" fmla="*/ 2147483647 w 2"/>
              <a:gd name="T13" fmla="*/ 2147483647 h 2"/>
              <a:gd name="T14" fmla="*/ 2147483647 w 2"/>
              <a:gd name="T15" fmla="*/ 2147483647 h 2"/>
              <a:gd name="T16" fmla="*/ 2147483647 w 2"/>
              <a:gd name="T17" fmla="*/ 0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0 w 2"/>
              <a:gd name="T25" fmla="*/ 2147483647 h 2"/>
              <a:gd name="T26" fmla="*/ 0 w 2"/>
              <a:gd name="T27" fmla="*/ 2147483647 h 2"/>
              <a:gd name="T28" fmla="*/ 2147483647 w 2"/>
              <a:gd name="T29" fmla="*/ 2147483647 h 2"/>
              <a:gd name="T30" fmla="*/ 2147483647 w 2"/>
              <a:gd name="T31" fmla="*/ 2147483647 h 2"/>
              <a:gd name="T32" fmla="*/ 2147483647 w 2"/>
              <a:gd name="T33" fmla="*/ 2147483647 h 2"/>
              <a:gd name="T34" fmla="*/ 2147483647 w 2"/>
              <a:gd name="T35" fmla="*/ 2147483647 h 2"/>
              <a:gd name="T36" fmla="*/ 2147483647 w 2"/>
              <a:gd name="T37" fmla="*/ 2147483647 h 2"/>
              <a:gd name="T38" fmla="*/ 2147483647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0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0 w 2"/>
              <a:gd name="T53" fmla="*/ 2147483647 h 2"/>
              <a:gd name="T54" fmla="*/ 2147483647 w 2"/>
              <a:gd name="T55" fmla="*/ 2147483647 h 2"/>
              <a:gd name="T56" fmla="*/ 0 w 2"/>
              <a:gd name="T57" fmla="*/ 2147483647 h 2"/>
              <a:gd name="T58" fmla="*/ 2147483647 w 2"/>
              <a:gd name="T59" fmla="*/ 2147483647 h 2"/>
              <a:gd name="T60" fmla="*/ 2147483647 w 2"/>
              <a:gd name="T61" fmla="*/ 2147483647 h 2"/>
              <a:gd name="T62" fmla="*/ 2147483647 w 2"/>
              <a:gd name="T63" fmla="*/ 2147483647 h 2"/>
              <a:gd name="T64" fmla="*/ 0 w 2"/>
              <a:gd name="T65" fmla="*/ 2147483647 h 2"/>
              <a:gd name="T66" fmla="*/ 0 w 2"/>
              <a:gd name="T67" fmla="*/ 2147483647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" name="Freeform 1120">
            <a:extLst>
              <a:ext uri="{FF2B5EF4-FFF2-40B4-BE49-F238E27FC236}">
                <a16:creationId xmlns:a16="http://schemas.microsoft.com/office/drawing/2014/main" id="{F965DA1C-EC49-4EEB-B4D2-557F31BE71AC}"/>
              </a:ext>
            </a:extLst>
          </p:cNvPr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2147483647 h 2"/>
              <a:gd name="T4" fmla="*/ 0 w 2"/>
              <a:gd name="T5" fmla="*/ 2147483647 h 2"/>
              <a:gd name="T6" fmla="*/ 0 w 2"/>
              <a:gd name="T7" fmla="*/ 2147483647 h 2"/>
              <a:gd name="T8" fmla="*/ 2147483647 w 2"/>
              <a:gd name="T9" fmla="*/ 2147483647 h 2"/>
              <a:gd name="T10" fmla="*/ 2147483647 w 2"/>
              <a:gd name="T11" fmla="*/ 0 h 2"/>
              <a:gd name="T12" fmla="*/ 2147483647 w 2"/>
              <a:gd name="T13" fmla="*/ 0 h 2"/>
              <a:gd name="T14" fmla="*/ 2147483647 w 2"/>
              <a:gd name="T15" fmla="*/ 0 h 2"/>
              <a:gd name="T16" fmla="*/ 0 w 2"/>
              <a:gd name="T17" fmla="*/ 0 h 2"/>
              <a:gd name="T18" fmla="*/ 0 w 2"/>
              <a:gd name="T19" fmla="*/ 2147483647 h 2"/>
              <a:gd name="T20" fmla="*/ 0 w 2"/>
              <a:gd name="T21" fmla="*/ 2147483647 h 2"/>
              <a:gd name="T22" fmla="*/ 2147483647 w 2"/>
              <a:gd name="T23" fmla="*/ 0 h 2"/>
              <a:gd name="T24" fmla="*/ 2147483647 w 2"/>
              <a:gd name="T25" fmla="*/ 0 h 2"/>
              <a:gd name="T26" fmla="*/ 2147483647 w 2"/>
              <a:gd name="T27" fmla="*/ 0 h 2"/>
              <a:gd name="T28" fmla="*/ 2147483647 w 2"/>
              <a:gd name="T29" fmla="*/ 2147483647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2147483647 h 2"/>
              <a:gd name="T38" fmla="*/ 0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2147483647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2147483647 w 2"/>
              <a:gd name="T53" fmla="*/ 2147483647 h 2"/>
              <a:gd name="T54" fmla="*/ 2147483647 w 2"/>
              <a:gd name="T55" fmla="*/ 2147483647 h 2"/>
              <a:gd name="T56" fmla="*/ 2147483647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3" name="Freeform 1134">
            <a:extLst>
              <a:ext uri="{FF2B5EF4-FFF2-40B4-BE49-F238E27FC236}">
                <a16:creationId xmlns:a16="http://schemas.microsoft.com/office/drawing/2014/main" id="{D080D1D2-0FD4-4749-86F5-4CFA990E6F0F}"/>
              </a:ext>
            </a:extLst>
          </p:cNvPr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>
              <a:gd name="T0" fmla="*/ 2147483647 w 2"/>
              <a:gd name="T1" fmla="*/ 2147483647 h 4"/>
              <a:gd name="T2" fmla="*/ 2147483647 w 2"/>
              <a:gd name="T3" fmla="*/ 2147483647 h 4"/>
              <a:gd name="T4" fmla="*/ 2147483647 w 2"/>
              <a:gd name="T5" fmla="*/ 2147483647 h 4"/>
              <a:gd name="T6" fmla="*/ 2147483647 w 2"/>
              <a:gd name="T7" fmla="*/ 2147483647 h 4"/>
              <a:gd name="T8" fmla="*/ 2147483647 w 2"/>
              <a:gd name="T9" fmla="*/ 0 h 4"/>
              <a:gd name="T10" fmla="*/ 2147483647 w 2"/>
              <a:gd name="T11" fmla="*/ 0 h 4"/>
              <a:gd name="T12" fmla="*/ 2147483647 w 2"/>
              <a:gd name="T13" fmla="*/ 0 h 4"/>
              <a:gd name="T14" fmla="*/ 0 w 2"/>
              <a:gd name="T15" fmla="*/ 2147483647 h 4"/>
              <a:gd name="T16" fmla="*/ 2147483647 w 2"/>
              <a:gd name="T17" fmla="*/ 2147483647 h 4"/>
              <a:gd name="T18" fmla="*/ 2147483647 w 2"/>
              <a:gd name="T19" fmla="*/ 2147483647 h 4"/>
              <a:gd name="T20" fmla="*/ 2147483647 w 2"/>
              <a:gd name="T21" fmla="*/ 2147483647 h 4"/>
              <a:gd name="T22" fmla="*/ 2147483647 w 2"/>
              <a:gd name="T23" fmla="*/ 0 h 4"/>
              <a:gd name="T24" fmla="*/ 2147483647 w 2"/>
              <a:gd name="T25" fmla="*/ 2147483647 h 4"/>
              <a:gd name="T26" fmla="*/ 2147483647 w 2"/>
              <a:gd name="T27" fmla="*/ 2147483647 h 4"/>
              <a:gd name="T28" fmla="*/ 2147483647 w 2"/>
              <a:gd name="T29" fmla="*/ 2147483647 h 4"/>
              <a:gd name="T30" fmla="*/ 2147483647 w 2"/>
              <a:gd name="T31" fmla="*/ 2147483647 h 4"/>
              <a:gd name="T32" fmla="*/ 2147483647 w 2"/>
              <a:gd name="T33" fmla="*/ 2147483647 h 4"/>
              <a:gd name="T34" fmla="*/ 2147483647 w 2"/>
              <a:gd name="T35" fmla="*/ 2147483647 h 4"/>
              <a:gd name="T36" fmla="*/ 2147483647 w 2"/>
              <a:gd name="T37" fmla="*/ 2147483647 h 4"/>
              <a:gd name="T38" fmla="*/ 2147483647 w 2"/>
              <a:gd name="T39" fmla="*/ 2147483647 h 4"/>
              <a:gd name="T40" fmla="*/ 2147483647 w 2"/>
              <a:gd name="T41" fmla="*/ 2147483647 h 4"/>
              <a:gd name="T42" fmla="*/ 2147483647 w 2"/>
              <a:gd name="T43" fmla="*/ 2147483647 h 4"/>
              <a:gd name="T44" fmla="*/ 2147483647 w 2"/>
              <a:gd name="T45" fmla="*/ 2147483647 h 4"/>
              <a:gd name="T46" fmla="*/ 2147483647 w 2"/>
              <a:gd name="T47" fmla="*/ 2147483647 h 4"/>
              <a:gd name="T48" fmla="*/ 2147483647 w 2"/>
              <a:gd name="T49" fmla="*/ 2147483647 h 4"/>
              <a:gd name="T50" fmla="*/ 2147483647 w 2"/>
              <a:gd name="T51" fmla="*/ 2147483647 h 4"/>
              <a:gd name="T52" fmla="*/ 0 w 2"/>
              <a:gd name="T53" fmla="*/ 2147483647 h 4"/>
              <a:gd name="T54" fmla="*/ 2147483647 w 2"/>
              <a:gd name="T55" fmla="*/ 2147483647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4" name="Freeform 1141">
            <a:extLst>
              <a:ext uri="{FF2B5EF4-FFF2-40B4-BE49-F238E27FC236}">
                <a16:creationId xmlns:a16="http://schemas.microsoft.com/office/drawing/2014/main" id="{1F81CC65-6C01-4E10-AB84-637D422009A7}"/>
              </a:ext>
            </a:extLst>
          </p:cNvPr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>
              <a:gd name="T0" fmla="*/ 0 w 1587"/>
              <a:gd name="T1" fmla="*/ 2147483647 h 4"/>
              <a:gd name="T2" fmla="*/ 0 w 1587"/>
              <a:gd name="T3" fmla="*/ 2147483647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2147483647 h 4"/>
              <a:gd name="T10" fmla="*/ 0 w 1587"/>
              <a:gd name="T11" fmla="*/ 2147483647 h 4"/>
              <a:gd name="T12" fmla="*/ 0 w 1587"/>
              <a:gd name="T13" fmla="*/ 2147483647 h 4"/>
              <a:gd name="T14" fmla="*/ 0 w 1587"/>
              <a:gd name="T15" fmla="*/ 2147483647 h 4"/>
              <a:gd name="T16" fmla="*/ 0 w 1587"/>
              <a:gd name="T17" fmla="*/ 2147483647 h 4"/>
              <a:gd name="T18" fmla="*/ 0 w 1587"/>
              <a:gd name="T19" fmla="*/ 2147483647 h 4"/>
              <a:gd name="T20" fmla="*/ 0 w 1587"/>
              <a:gd name="T21" fmla="*/ 2147483647 h 4"/>
              <a:gd name="T22" fmla="*/ 0 w 1587"/>
              <a:gd name="T23" fmla="*/ 2147483647 h 4"/>
              <a:gd name="T24" fmla="*/ 0 w 1587"/>
              <a:gd name="T25" fmla="*/ 2147483647 h 4"/>
              <a:gd name="T26" fmla="*/ 0 w 1587"/>
              <a:gd name="T27" fmla="*/ 2147483647 h 4"/>
              <a:gd name="T28" fmla="*/ 0 w 1587"/>
              <a:gd name="T29" fmla="*/ 2147483647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5" name="Freeform 1148">
            <a:extLst>
              <a:ext uri="{FF2B5EF4-FFF2-40B4-BE49-F238E27FC236}">
                <a16:creationId xmlns:a16="http://schemas.microsoft.com/office/drawing/2014/main" id="{27BACB60-EACB-48D7-A438-A599CDBA9BF7}"/>
              </a:ext>
            </a:extLst>
          </p:cNvPr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>
              <a:gd name="T0" fmla="*/ 2147483647 w 2"/>
              <a:gd name="T1" fmla="*/ 2147483647 h 2"/>
              <a:gd name="T2" fmla="*/ 2147483647 w 2"/>
              <a:gd name="T3" fmla="*/ 0 h 2"/>
              <a:gd name="T4" fmla="*/ 2147483647 w 2"/>
              <a:gd name="T5" fmla="*/ 0 h 2"/>
              <a:gd name="T6" fmla="*/ 2147483647 w 2"/>
              <a:gd name="T7" fmla="*/ 0 h 2"/>
              <a:gd name="T8" fmla="*/ 2147483647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2147483647 h 2"/>
              <a:gd name="T16" fmla="*/ 0 w 2"/>
              <a:gd name="T17" fmla="*/ 2147483647 h 2"/>
              <a:gd name="T18" fmla="*/ 0 w 2"/>
              <a:gd name="T19" fmla="*/ 2147483647 h 2"/>
              <a:gd name="T20" fmla="*/ 2147483647 w 2"/>
              <a:gd name="T21" fmla="*/ 2147483647 h 2"/>
              <a:gd name="T22" fmla="*/ 2147483647 w 2"/>
              <a:gd name="T23" fmla="*/ 2147483647 h 2"/>
              <a:gd name="T24" fmla="*/ 2147483647 w 2"/>
              <a:gd name="T25" fmla="*/ 0 h 2"/>
              <a:gd name="T26" fmla="*/ 2147483647 w 2"/>
              <a:gd name="T27" fmla="*/ 0 h 2"/>
              <a:gd name="T28" fmla="*/ 2147483647 w 2"/>
              <a:gd name="T29" fmla="*/ 0 h 2"/>
              <a:gd name="T30" fmla="*/ 0 w 2"/>
              <a:gd name="T31" fmla="*/ 2147483647 h 2"/>
              <a:gd name="T32" fmla="*/ 2147483647 w 2"/>
              <a:gd name="T33" fmla="*/ 2147483647 h 2"/>
              <a:gd name="T34" fmla="*/ 2147483647 w 2"/>
              <a:gd name="T35" fmla="*/ 0 h 2"/>
              <a:gd name="T36" fmla="*/ 0 w 2"/>
              <a:gd name="T37" fmla="*/ 2147483647 h 2"/>
              <a:gd name="T38" fmla="*/ 2147483647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0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0 w 2"/>
              <a:gd name="T53" fmla="*/ 2147483647 h 2"/>
              <a:gd name="T54" fmla="*/ 0 w 2"/>
              <a:gd name="T55" fmla="*/ 2147483647 h 2"/>
              <a:gd name="T56" fmla="*/ 0 w 2"/>
              <a:gd name="T57" fmla="*/ 2147483647 h 2"/>
              <a:gd name="T58" fmla="*/ 2147483647 w 2"/>
              <a:gd name="T59" fmla="*/ 2147483647 h 2"/>
              <a:gd name="T60" fmla="*/ 2147483647 w 2"/>
              <a:gd name="T61" fmla="*/ 2147483647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6" name="Freeform 1150">
            <a:extLst>
              <a:ext uri="{FF2B5EF4-FFF2-40B4-BE49-F238E27FC236}">
                <a16:creationId xmlns:a16="http://schemas.microsoft.com/office/drawing/2014/main" id="{4A5CBFD5-0D61-4DEA-8C98-52069A627B16}"/>
              </a:ext>
            </a:extLst>
          </p:cNvPr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>
              <a:gd name="T0" fmla="*/ 0 w 1587"/>
              <a:gd name="T1" fmla="*/ 2147483647 h 2"/>
              <a:gd name="T2" fmla="*/ 0 w 1587"/>
              <a:gd name="T3" fmla="*/ 0 h 2"/>
              <a:gd name="T4" fmla="*/ 0 w 1587"/>
              <a:gd name="T5" fmla="*/ 2147483647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7" name="Freeform 1152">
            <a:extLst>
              <a:ext uri="{FF2B5EF4-FFF2-40B4-BE49-F238E27FC236}">
                <a16:creationId xmlns:a16="http://schemas.microsoft.com/office/drawing/2014/main" id="{F9D75C7C-0F72-4947-A182-13BA599D38C8}"/>
              </a:ext>
            </a:extLst>
          </p:cNvPr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>
              <a:gd name="T0" fmla="*/ 2147483647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2147483647 h 2"/>
              <a:gd name="T10" fmla="*/ 2147483647 w 2"/>
              <a:gd name="T11" fmla="*/ 2147483647 h 2"/>
              <a:gd name="T12" fmla="*/ 2147483647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2147483647 h 2"/>
              <a:gd name="T22" fmla="*/ 2147483647 w 2"/>
              <a:gd name="T23" fmla="*/ 2147483647 h 2"/>
              <a:gd name="T24" fmla="*/ 2147483647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8" name="Freeform 1154">
            <a:extLst>
              <a:ext uri="{FF2B5EF4-FFF2-40B4-BE49-F238E27FC236}">
                <a16:creationId xmlns:a16="http://schemas.microsoft.com/office/drawing/2014/main" id="{C8EEFCC4-99FD-4FD2-8296-A4DAE6520EEA}"/>
              </a:ext>
            </a:extLst>
          </p:cNvPr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>
              <a:gd name="T0" fmla="*/ 2147483647 w 2"/>
              <a:gd name="T1" fmla="*/ 0 h 1588"/>
              <a:gd name="T2" fmla="*/ 0 w 2"/>
              <a:gd name="T3" fmla="*/ 0 h 1588"/>
              <a:gd name="T4" fmla="*/ 2147483647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9" name="Freeform 1156">
            <a:extLst>
              <a:ext uri="{FF2B5EF4-FFF2-40B4-BE49-F238E27FC236}">
                <a16:creationId xmlns:a16="http://schemas.microsoft.com/office/drawing/2014/main" id="{0E1EFA4F-C800-46CE-BF3D-53CFAB639FB4}"/>
              </a:ext>
            </a:extLst>
          </p:cNvPr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>
              <a:gd name="T0" fmla="*/ 2147483647 w 2"/>
              <a:gd name="T1" fmla="*/ 2147483647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2147483647 h 2"/>
              <a:gd name="T8" fmla="*/ 2147483647 w 2"/>
              <a:gd name="T9" fmla="*/ 2147483647 h 2"/>
              <a:gd name="T10" fmla="*/ 2147483647 w 2"/>
              <a:gd name="T11" fmla="*/ 2147483647 h 2"/>
              <a:gd name="T12" fmla="*/ 2147483647 w 2"/>
              <a:gd name="T13" fmla="*/ 2147483647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2147483647 h 2"/>
              <a:gd name="T20" fmla="*/ 2147483647 w 2"/>
              <a:gd name="T21" fmla="*/ 2147483647 h 2"/>
              <a:gd name="T22" fmla="*/ 2147483647 w 2"/>
              <a:gd name="T23" fmla="*/ 2147483647 h 2"/>
              <a:gd name="T24" fmla="*/ 2147483647 w 2"/>
              <a:gd name="T25" fmla="*/ 2147483647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" name="Freeform 1163">
            <a:extLst>
              <a:ext uri="{FF2B5EF4-FFF2-40B4-BE49-F238E27FC236}">
                <a16:creationId xmlns:a16="http://schemas.microsoft.com/office/drawing/2014/main" id="{D0BC8ED6-B24C-463E-B95C-91E670194707}"/>
              </a:ext>
            </a:extLst>
          </p:cNvPr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>
              <a:gd name="T0" fmla="*/ 2147483647 w 4"/>
              <a:gd name="T1" fmla="*/ 2147483647 h 2"/>
              <a:gd name="T2" fmla="*/ 2147483647 w 4"/>
              <a:gd name="T3" fmla="*/ 2147483647 h 2"/>
              <a:gd name="T4" fmla="*/ 2147483647 w 4"/>
              <a:gd name="T5" fmla="*/ 2147483647 h 2"/>
              <a:gd name="T6" fmla="*/ 2147483647 w 4"/>
              <a:gd name="T7" fmla="*/ 0 h 2"/>
              <a:gd name="T8" fmla="*/ 2147483647 w 4"/>
              <a:gd name="T9" fmla="*/ 0 h 2"/>
              <a:gd name="T10" fmla="*/ 2147483647 w 4"/>
              <a:gd name="T11" fmla="*/ 0 h 2"/>
              <a:gd name="T12" fmla="*/ 2147483647 w 4"/>
              <a:gd name="T13" fmla="*/ 0 h 2"/>
              <a:gd name="T14" fmla="*/ 0 w 4"/>
              <a:gd name="T15" fmla="*/ 2147483647 h 2"/>
              <a:gd name="T16" fmla="*/ 2147483647 w 4"/>
              <a:gd name="T17" fmla="*/ 2147483647 h 2"/>
              <a:gd name="T18" fmla="*/ 2147483647 w 4"/>
              <a:gd name="T19" fmla="*/ 0 h 2"/>
              <a:gd name="T20" fmla="*/ 2147483647 w 4"/>
              <a:gd name="T21" fmla="*/ 2147483647 h 2"/>
              <a:gd name="T22" fmla="*/ 2147483647 w 4"/>
              <a:gd name="T23" fmla="*/ 0 h 2"/>
              <a:gd name="T24" fmla="*/ 2147483647 w 4"/>
              <a:gd name="T25" fmla="*/ 0 h 2"/>
              <a:gd name="T26" fmla="*/ 2147483647 w 4"/>
              <a:gd name="T27" fmla="*/ 0 h 2"/>
              <a:gd name="T28" fmla="*/ 2147483647 w 4"/>
              <a:gd name="T29" fmla="*/ 0 h 2"/>
              <a:gd name="T30" fmla="*/ 0 w 4"/>
              <a:gd name="T31" fmla="*/ 0 h 2"/>
              <a:gd name="T32" fmla="*/ 2147483647 w 4"/>
              <a:gd name="T33" fmla="*/ 2147483647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" name="Freeform 1172">
            <a:extLst>
              <a:ext uri="{FF2B5EF4-FFF2-40B4-BE49-F238E27FC236}">
                <a16:creationId xmlns:a16="http://schemas.microsoft.com/office/drawing/2014/main" id="{752E1205-A3F1-46DF-9156-7ED9A56768E7}"/>
              </a:ext>
            </a:extLst>
          </p:cNvPr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2147483647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2147483647 h 2"/>
              <a:gd name="T14" fmla="*/ 0 w 2"/>
              <a:gd name="T15" fmla="*/ 2147483647 h 2"/>
              <a:gd name="T16" fmla="*/ 0 w 2"/>
              <a:gd name="T17" fmla="*/ 2147483647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0 w 2"/>
              <a:gd name="T25" fmla="*/ 2147483647 h 2"/>
              <a:gd name="T26" fmla="*/ 0 w 2"/>
              <a:gd name="T27" fmla="*/ 2147483647 h 2"/>
              <a:gd name="T28" fmla="*/ 0 w 2"/>
              <a:gd name="T29" fmla="*/ 2147483647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2147483647 h 2"/>
              <a:gd name="T38" fmla="*/ 0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0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0 w 2"/>
              <a:gd name="T53" fmla="*/ 2147483647 h 2"/>
              <a:gd name="T54" fmla="*/ 0 w 2"/>
              <a:gd name="T55" fmla="*/ 2147483647 h 2"/>
              <a:gd name="T56" fmla="*/ 0 w 2"/>
              <a:gd name="T57" fmla="*/ 2147483647 h 2"/>
              <a:gd name="T58" fmla="*/ 0 w 2"/>
              <a:gd name="T59" fmla="*/ 2147483647 h 2"/>
              <a:gd name="T60" fmla="*/ 0 w 2"/>
              <a:gd name="T61" fmla="*/ 2147483647 h 2"/>
              <a:gd name="T62" fmla="*/ 0 w 2"/>
              <a:gd name="T63" fmla="*/ 2147483647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" name="Freeform 1177">
            <a:extLst>
              <a:ext uri="{FF2B5EF4-FFF2-40B4-BE49-F238E27FC236}">
                <a16:creationId xmlns:a16="http://schemas.microsoft.com/office/drawing/2014/main" id="{D17374B4-476A-4218-A172-5B3617193BBC}"/>
              </a:ext>
            </a:extLst>
          </p:cNvPr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>
              <a:gd name="T0" fmla="*/ 0 w 2"/>
              <a:gd name="T1" fmla="*/ 2147483647 h 2"/>
              <a:gd name="T2" fmla="*/ 2147483647 w 2"/>
              <a:gd name="T3" fmla="*/ 2147483647 h 2"/>
              <a:gd name="T4" fmla="*/ 2147483647 w 2"/>
              <a:gd name="T5" fmla="*/ 2147483647 h 2"/>
              <a:gd name="T6" fmla="*/ 2147483647 w 2"/>
              <a:gd name="T7" fmla="*/ 0 h 2"/>
              <a:gd name="T8" fmla="*/ 2147483647 w 2"/>
              <a:gd name="T9" fmla="*/ 0 h 2"/>
              <a:gd name="T10" fmla="*/ 2147483647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2147483647 h 2"/>
              <a:gd name="T40" fmla="*/ 0 w 2"/>
              <a:gd name="T41" fmla="*/ 2147483647 h 2"/>
              <a:gd name="T42" fmla="*/ 2147483647 w 2"/>
              <a:gd name="T43" fmla="*/ 2147483647 h 2"/>
              <a:gd name="T44" fmla="*/ 2147483647 w 2"/>
              <a:gd name="T45" fmla="*/ 0 h 2"/>
              <a:gd name="T46" fmla="*/ 2147483647 w 2"/>
              <a:gd name="T47" fmla="*/ 0 h 2"/>
              <a:gd name="T48" fmla="*/ 2147483647 w 2"/>
              <a:gd name="T49" fmla="*/ 0 h 2"/>
              <a:gd name="T50" fmla="*/ 2147483647 w 2"/>
              <a:gd name="T51" fmla="*/ 0 h 2"/>
              <a:gd name="T52" fmla="*/ 2147483647 w 2"/>
              <a:gd name="T53" fmla="*/ 0 h 2"/>
              <a:gd name="T54" fmla="*/ 2147483647 w 2"/>
              <a:gd name="T55" fmla="*/ 0 h 2"/>
              <a:gd name="T56" fmla="*/ 2147483647 w 2"/>
              <a:gd name="T57" fmla="*/ 0 h 2"/>
              <a:gd name="T58" fmla="*/ 2147483647 w 2"/>
              <a:gd name="T59" fmla="*/ 0 h 2"/>
              <a:gd name="T60" fmla="*/ 2147483647 w 2"/>
              <a:gd name="T61" fmla="*/ 0 h 2"/>
              <a:gd name="T62" fmla="*/ 2147483647 w 2"/>
              <a:gd name="T63" fmla="*/ 0 h 2"/>
              <a:gd name="T64" fmla="*/ 2147483647 w 2"/>
              <a:gd name="T65" fmla="*/ 0 h 2"/>
              <a:gd name="T66" fmla="*/ 2147483647 w 2"/>
              <a:gd name="T67" fmla="*/ 2147483647 h 2"/>
              <a:gd name="T68" fmla="*/ 2147483647 w 2"/>
              <a:gd name="T69" fmla="*/ 0 h 2"/>
              <a:gd name="T70" fmla="*/ 2147483647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2147483647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" name="Freeform 1180">
            <a:extLst>
              <a:ext uri="{FF2B5EF4-FFF2-40B4-BE49-F238E27FC236}">
                <a16:creationId xmlns:a16="http://schemas.microsoft.com/office/drawing/2014/main" id="{9F028583-84F8-4EC3-AC24-F39C7F76394D}"/>
              </a:ext>
            </a:extLst>
          </p:cNvPr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>
              <a:gd name="T0" fmla="*/ 0 w 2"/>
              <a:gd name="T1" fmla="*/ 2147483647 h 3"/>
              <a:gd name="T2" fmla="*/ 0 w 2"/>
              <a:gd name="T3" fmla="*/ 2147483647 h 3"/>
              <a:gd name="T4" fmla="*/ 2147483647 w 2"/>
              <a:gd name="T5" fmla="*/ 2147483647 h 3"/>
              <a:gd name="T6" fmla="*/ 2147483647 w 2"/>
              <a:gd name="T7" fmla="*/ 2147483647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2147483647 h 3"/>
              <a:gd name="T16" fmla="*/ 0 w 2"/>
              <a:gd name="T17" fmla="*/ 2147483647 h 3"/>
              <a:gd name="T18" fmla="*/ 0 w 2"/>
              <a:gd name="T19" fmla="*/ 2147483647 h 3"/>
              <a:gd name="T20" fmla="*/ 0 w 2"/>
              <a:gd name="T21" fmla="*/ 2147483647 h 3"/>
              <a:gd name="T22" fmla="*/ 0 w 2"/>
              <a:gd name="T23" fmla="*/ 0 h 3"/>
              <a:gd name="T24" fmla="*/ 0 w 2"/>
              <a:gd name="T25" fmla="*/ 2147483647 h 3"/>
              <a:gd name="T26" fmla="*/ 0 w 2"/>
              <a:gd name="T27" fmla="*/ 2147483647 h 3"/>
              <a:gd name="T28" fmla="*/ 0 w 2"/>
              <a:gd name="T29" fmla="*/ 2147483647 h 3"/>
              <a:gd name="T30" fmla="*/ 0 w 2"/>
              <a:gd name="T31" fmla="*/ 2147483647 h 3"/>
              <a:gd name="T32" fmla="*/ 0 w 2"/>
              <a:gd name="T33" fmla="*/ 2147483647 h 3"/>
              <a:gd name="T34" fmla="*/ 0 w 2"/>
              <a:gd name="T35" fmla="*/ 2147483647 h 3"/>
              <a:gd name="T36" fmla="*/ 0 w 2"/>
              <a:gd name="T37" fmla="*/ 2147483647 h 3"/>
              <a:gd name="T38" fmla="*/ 0 w 2"/>
              <a:gd name="T39" fmla="*/ 2147483647 h 3"/>
              <a:gd name="T40" fmla="*/ 0 w 2"/>
              <a:gd name="T41" fmla="*/ 2147483647 h 3"/>
              <a:gd name="T42" fmla="*/ 0 w 2"/>
              <a:gd name="T43" fmla="*/ 2147483647 h 3"/>
              <a:gd name="T44" fmla="*/ 0 w 2"/>
              <a:gd name="T45" fmla="*/ 2147483647 h 3"/>
              <a:gd name="T46" fmla="*/ 0 w 2"/>
              <a:gd name="T47" fmla="*/ 2147483647 h 3"/>
              <a:gd name="T48" fmla="*/ 0 w 2"/>
              <a:gd name="T49" fmla="*/ 2147483647 h 3"/>
              <a:gd name="T50" fmla="*/ 0 w 2"/>
              <a:gd name="T51" fmla="*/ 2147483647 h 3"/>
              <a:gd name="T52" fmla="*/ 0 w 2"/>
              <a:gd name="T53" fmla="*/ 2147483647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" name="Line 1187">
            <a:extLst>
              <a:ext uri="{FF2B5EF4-FFF2-40B4-BE49-F238E27FC236}">
                <a16:creationId xmlns:a16="http://schemas.microsoft.com/office/drawing/2014/main" id="{7C3CC87D-A8F0-4BA1-8C1E-8ACD74D0A6A9}"/>
              </a:ext>
            </a:extLst>
          </p:cNvPr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" name="Line 1188">
            <a:extLst>
              <a:ext uri="{FF2B5EF4-FFF2-40B4-BE49-F238E27FC236}">
                <a16:creationId xmlns:a16="http://schemas.microsoft.com/office/drawing/2014/main" id="{40D36F21-63E6-4304-812E-5B2B6B9B48AC}"/>
              </a:ext>
            </a:extLst>
          </p:cNvPr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6" name="Freeform 1208">
            <a:extLst>
              <a:ext uri="{FF2B5EF4-FFF2-40B4-BE49-F238E27FC236}">
                <a16:creationId xmlns:a16="http://schemas.microsoft.com/office/drawing/2014/main" id="{5FCE5033-8E2A-466E-8E91-D921563B3D96}"/>
              </a:ext>
            </a:extLst>
          </p:cNvPr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7" name="Freeform 1210">
            <a:extLst>
              <a:ext uri="{FF2B5EF4-FFF2-40B4-BE49-F238E27FC236}">
                <a16:creationId xmlns:a16="http://schemas.microsoft.com/office/drawing/2014/main" id="{D8F79057-6BF8-4541-8180-7B909F4CB7A4}"/>
              </a:ext>
            </a:extLst>
          </p:cNvPr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2147483647 h 2"/>
              <a:gd name="T6" fmla="*/ 2147483647 w 2"/>
              <a:gd name="T7" fmla="*/ 0 h 2"/>
              <a:gd name="T8" fmla="*/ 2147483647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2147483647 h 2"/>
              <a:gd name="T18" fmla="*/ 0 w 2"/>
              <a:gd name="T19" fmla="*/ 2147483647 h 2"/>
              <a:gd name="T20" fmla="*/ 2147483647 w 2"/>
              <a:gd name="T21" fmla="*/ 2147483647 h 2"/>
              <a:gd name="T22" fmla="*/ 2147483647 w 2"/>
              <a:gd name="T23" fmla="*/ 0 h 2"/>
              <a:gd name="T24" fmla="*/ 2147483647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2147483647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8" name="Freeform 1214">
            <a:extLst>
              <a:ext uri="{FF2B5EF4-FFF2-40B4-BE49-F238E27FC236}">
                <a16:creationId xmlns:a16="http://schemas.microsoft.com/office/drawing/2014/main" id="{4FFD1152-F594-471D-82B4-F332F94D1AE0}"/>
              </a:ext>
            </a:extLst>
          </p:cNvPr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2147483647 h 2"/>
              <a:gd name="T2" fmla="*/ 2147483647 w 2"/>
              <a:gd name="T3" fmla="*/ 2147483647 h 2"/>
              <a:gd name="T4" fmla="*/ 0 w 2"/>
              <a:gd name="T5" fmla="*/ 0 h 2"/>
              <a:gd name="T6" fmla="*/ 0 w 2"/>
              <a:gd name="T7" fmla="*/ 2147483647 h 2"/>
              <a:gd name="T8" fmla="*/ 0 w 2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9" name="Rectangle 1215">
            <a:extLst>
              <a:ext uri="{FF2B5EF4-FFF2-40B4-BE49-F238E27FC236}">
                <a16:creationId xmlns:a16="http://schemas.microsoft.com/office/drawing/2014/main" id="{7B593E49-2670-4DB6-BA06-5C7FCC7D80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30" name="Freeform 1217">
            <a:extLst>
              <a:ext uri="{FF2B5EF4-FFF2-40B4-BE49-F238E27FC236}">
                <a16:creationId xmlns:a16="http://schemas.microsoft.com/office/drawing/2014/main" id="{5096E5AF-8F41-49AF-9601-A2D31AC43D3E}"/>
              </a:ext>
            </a:extLst>
          </p:cNvPr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1" name="Freeform 1219">
            <a:extLst>
              <a:ext uri="{FF2B5EF4-FFF2-40B4-BE49-F238E27FC236}">
                <a16:creationId xmlns:a16="http://schemas.microsoft.com/office/drawing/2014/main" id="{85A10230-695A-4CE7-B7BA-DF8C77AA28EA}"/>
              </a:ext>
            </a:extLst>
          </p:cNvPr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" name="Freeform 1221">
            <a:extLst>
              <a:ext uri="{FF2B5EF4-FFF2-40B4-BE49-F238E27FC236}">
                <a16:creationId xmlns:a16="http://schemas.microsoft.com/office/drawing/2014/main" id="{62CEC189-54BF-4E7A-8E2B-AA9A0D3A7B15}"/>
              </a:ext>
            </a:extLst>
          </p:cNvPr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>
              <a:gd name="T0" fmla="*/ 2147483647 w 2"/>
              <a:gd name="T1" fmla="*/ 0 h 2"/>
              <a:gd name="T2" fmla="*/ 2147483647 w 2"/>
              <a:gd name="T3" fmla="*/ 0 h 2"/>
              <a:gd name="T4" fmla="*/ 2147483647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2147483647 h 2"/>
              <a:gd name="T12" fmla="*/ 2147483647 w 2"/>
              <a:gd name="T13" fmla="*/ 0 h 2"/>
              <a:gd name="T14" fmla="*/ 2147483647 w 2"/>
              <a:gd name="T15" fmla="*/ 0 h 2"/>
              <a:gd name="T16" fmla="*/ 2147483647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2147483647 h 2"/>
              <a:gd name="T24" fmla="*/ 2147483647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3" name="Freeform 1234">
            <a:extLst>
              <a:ext uri="{FF2B5EF4-FFF2-40B4-BE49-F238E27FC236}">
                <a16:creationId xmlns:a16="http://schemas.microsoft.com/office/drawing/2014/main" id="{FDB93DC5-8EA5-4A47-8B7B-F245F8EA16D9}"/>
              </a:ext>
            </a:extLst>
          </p:cNvPr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2147483647 w 2"/>
              <a:gd name="T5" fmla="*/ 0 h 1587"/>
              <a:gd name="T6" fmla="*/ 2147483647 w 2"/>
              <a:gd name="T7" fmla="*/ 0 h 1587"/>
              <a:gd name="T8" fmla="*/ 2147483647 w 2"/>
              <a:gd name="T9" fmla="*/ 0 h 1587"/>
              <a:gd name="T10" fmla="*/ 2147483647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2147483647 w 2"/>
              <a:gd name="T25" fmla="*/ 0 h 1587"/>
              <a:gd name="T26" fmla="*/ 2147483647 w 2"/>
              <a:gd name="T27" fmla="*/ 0 h 1587"/>
              <a:gd name="T28" fmla="*/ 2147483647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2147483647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4" name="Line 1237">
            <a:extLst>
              <a:ext uri="{FF2B5EF4-FFF2-40B4-BE49-F238E27FC236}">
                <a16:creationId xmlns:a16="http://schemas.microsoft.com/office/drawing/2014/main" id="{E5B215D6-AB55-40A7-A3B3-F7847A53A5E3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5" name="Line 1238">
            <a:extLst>
              <a:ext uri="{FF2B5EF4-FFF2-40B4-BE49-F238E27FC236}">
                <a16:creationId xmlns:a16="http://schemas.microsoft.com/office/drawing/2014/main" id="{C9FA6622-F1E7-47BE-9A86-EE4AE24EE9B9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6" name="Freeform 1240">
            <a:extLst>
              <a:ext uri="{FF2B5EF4-FFF2-40B4-BE49-F238E27FC236}">
                <a16:creationId xmlns:a16="http://schemas.microsoft.com/office/drawing/2014/main" id="{A28A83BF-2CF8-489B-818F-DE9E66B29D26}"/>
              </a:ext>
            </a:extLst>
          </p:cNvPr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>
              <a:gd name="T0" fmla="*/ 0 w 1587"/>
              <a:gd name="T1" fmla="*/ 2147483647 h 2"/>
              <a:gd name="T2" fmla="*/ 0 w 1587"/>
              <a:gd name="T3" fmla="*/ 2147483647 h 2"/>
              <a:gd name="T4" fmla="*/ 0 w 1587"/>
              <a:gd name="T5" fmla="*/ 0 h 2"/>
              <a:gd name="T6" fmla="*/ 0 w 1587"/>
              <a:gd name="T7" fmla="*/ 2147483647 h 2"/>
              <a:gd name="T8" fmla="*/ 0 w 1587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7" name="Freeform 1243">
            <a:extLst>
              <a:ext uri="{FF2B5EF4-FFF2-40B4-BE49-F238E27FC236}">
                <a16:creationId xmlns:a16="http://schemas.microsoft.com/office/drawing/2014/main" id="{5DEA8D7E-636C-414C-9A79-5855329DD1E1}"/>
              </a:ext>
            </a:extLst>
          </p:cNvPr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>
              <a:gd name="T0" fmla="*/ 2147483647 w 2"/>
              <a:gd name="T1" fmla="*/ 2147483647 h 2"/>
              <a:gd name="T2" fmla="*/ 2147483647 w 2"/>
              <a:gd name="T3" fmla="*/ 2147483647 h 2"/>
              <a:gd name="T4" fmla="*/ 2147483647 w 2"/>
              <a:gd name="T5" fmla="*/ 2147483647 h 2"/>
              <a:gd name="T6" fmla="*/ 2147483647 w 2"/>
              <a:gd name="T7" fmla="*/ 2147483647 h 2"/>
              <a:gd name="T8" fmla="*/ 0 w 2"/>
              <a:gd name="T9" fmla="*/ 2147483647 h 2"/>
              <a:gd name="T10" fmla="*/ 0 w 2"/>
              <a:gd name="T11" fmla="*/ 2147483647 h 2"/>
              <a:gd name="T12" fmla="*/ 2147483647 w 2"/>
              <a:gd name="T13" fmla="*/ 2147483647 h 2"/>
              <a:gd name="T14" fmla="*/ 0 w 2"/>
              <a:gd name="T15" fmla="*/ 2147483647 h 2"/>
              <a:gd name="T16" fmla="*/ 0 w 2"/>
              <a:gd name="T17" fmla="*/ 2147483647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0 w 2"/>
              <a:gd name="T25" fmla="*/ 2147483647 h 2"/>
              <a:gd name="T26" fmla="*/ 0 w 2"/>
              <a:gd name="T27" fmla="*/ 2147483647 h 2"/>
              <a:gd name="T28" fmla="*/ 0 w 2"/>
              <a:gd name="T29" fmla="*/ 2147483647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2147483647 h 2"/>
              <a:gd name="T38" fmla="*/ 2147483647 w 2"/>
              <a:gd name="T39" fmla="*/ 2147483647 h 2"/>
              <a:gd name="T40" fmla="*/ 2147483647 w 2"/>
              <a:gd name="T41" fmla="*/ 2147483647 h 2"/>
              <a:gd name="T42" fmla="*/ 2147483647 w 2"/>
              <a:gd name="T43" fmla="*/ 2147483647 h 2"/>
              <a:gd name="T44" fmla="*/ 2147483647 w 2"/>
              <a:gd name="T45" fmla="*/ 2147483647 h 2"/>
              <a:gd name="T46" fmla="*/ 2147483647 w 2"/>
              <a:gd name="T47" fmla="*/ 2147483647 h 2"/>
              <a:gd name="T48" fmla="*/ 0 w 2"/>
              <a:gd name="T49" fmla="*/ 0 h 2"/>
              <a:gd name="T50" fmla="*/ 0 w 2"/>
              <a:gd name="T51" fmla="*/ 2147483647 h 2"/>
              <a:gd name="T52" fmla="*/ 0 w 2"/>
              <a:gd name="T53" fmla="*/ 2147483647 h 2"/>
              <a:gd name="T54" fmla="*/ 0 w 2"/>
              <a:gd name="T55" fmla="*/ 2147483647 h 2"/>
              <a:gd name="T56" fmla="*/ 2147483647 w 2"/>
              <a:gd name="T57" fmla="*/ 2147483647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8" name="Freeform 1246">
            <a:extLst>
              <a:ext uri="{FF2B5EF4-FFF2-40B4-BE49-F238E27FC236}">
                <a16:creationId xmlns:a16="http://schemas.microsoft.com/office/drawing/2014/main" id="{FE4D6F85-48F2-4361-A366-72B0DCF9107D}"/>
              </a:ext>
            </a:extLst>
          </p:cNvPr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0 h 2"/>
              <a:gd name="T6" fmla="*/ 2147483647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2147483647 h 2"/>
              <a:gd name="T14" fmla="*/ 0 w 2"/>
              <a:gd name="T15" fmla="*/ 2147483647 h 2"/>
              <a:gd name="T16" fmla="*/ 2147483647 w 2"/>
              <a:gd name="T17" fmla="*/ 0 h 2"/>
              <a:gd name="T18" fmla="*/ 2147483647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2147483647 h 2"/>
              <a:gd name="T48" fmla="*/ 0 w 2"/>
              <a:gd name="T49" fmla="*/ 2147483647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9" name="Freeform 1250">
            <a:extLst>
              <a:ext uri="{FF2B5EF4-FFF2-40B4-BE49-F238E27FC236}">
                <a16:creationId xmlns:a16="http://schemas.microsoft.com/office/drawing/2014/main" id="{96356A3F-75C7-4A63-9873-FC79E70F6153}"/>
              </a:ext>
            </a:extLst>
          </p:cNvPr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>
              <a:gd name="T0" fmla="*/ 2147483647 w 2"/>
              <a:gd name="T1" fmla="*/ 0 h 1588"/>
              <a:gd name="T2" fmla="*/ 0 w 2"/>
              <a:gd name="T3" fmla="*/ 0 h 1588"/>
              <a:gd name="T4" fmla="*/ 2147483647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0" name="Freeform 1252">
            <a:extLst>
              <a:ext uri="{FF2B5EF4-FFF2-40B4-BE49-F238E27FC236}">
                <a16:creationId xmlns:a16="http://schemas.microsoft.com/office/drawing/2014/main" id="{5DAF9F12-96EA-47C4-B743-5D9B3B54F9D8}"/>
              </a:ext>
            </a:extLst>
          </p:cNvPr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>
              <a:gd name="T0" fmla="*/ 2147483647 w 2"/>
              <a:gd name="T1" fmla="*/ 2147483647 h 5"/>
              <a:gd name="T2" fmla="*/ 2147483647 w 2"/>
              <a:gd name="T3" fmla="*/ 2147483647 h 5"/>
              <a:gd name="T4" fmla="*/ 0 w 2"/>
              <a:gd name="T5" fmla="*/ 0 h 5"/>
              <a:gd name="T6" fmla="*/ 0 w 2"/>
              <a:gd name="T7" fmla="*/ 2147483647 h 5"/>
              <a:gd name="T8" fmla="*/ 0 w 2"/>
              <a:gd name="T9" fmla="*/ 2147483647 h 5"/>
              <a:gd name="T10" fmla="*/ 2147483647 w 2"/>
              <a:gd name="T11" fmla="*/ 2147483647 h 5"/>
              <a:gd name="T12" fmla="*/ 2147483647 w 2"/>
              <a:gd name="T13" fmla="*/ 2147483647 h 5"/>
              <a:gd name="T14" fmla="*/ 2147483647 w 2"/>
              <a:gd name="T15" fmla="*/ 2147483647 h 5"/>
              <a:gd name="T16" fmla="*/ 0 w 2"/>
              <a:gd name="T17" fmla="*/ 0 h 5"/>
              <a:gd name="T18" fmla="*/ 0 w 2"/>
              <a:gd name="T19" fmla="*/ 2147483647 h 5"/>
              <a:gd name="T20" fmla="*/ 0 w 2"/>
              <a:gd name="T21" fmla="*/ 2147483647 h 5"/>
              <a:gd name="T22" fmla="*/ 2147483647 w 2"/>
              <a:gd name="T23" fmla="*/ 2147483647 h 5"/>
              <a:gd name="T24" fmla="*/ 2147483647 w 2"/>
              <a:gd name="T25" fmla="*/ 2147483647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1" name="Freeform 1255">
            <a:extLst>
              <a:ext uri="{FF2B5EF4-FFF2-40B4-BE49-F238E27FC236}">
                <a16:creationId xmlns:a16="http://schemas.microsoft.com/office/drawing/2014/main" id="{5EF66D8C-5091-4D59-9DF4-91C7308C72C2}"/>
              </a:ext>
            </a:extLst>
          </p:cNvPr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2147483647 w 2"/>
              <a:gd name="T3" fmla="*/ 0 h 1587"/>
              <a:gd name="T4" fmla="*/ 2147483647 w 2"/>
              <a:gd name="T5" fmla="*/ 0 h 1587"/>
              <a:gd name="T6" fmla="*/ 2147483647 w 2"/>
              <a:gd name="T7" fmla="*/ 0 h 1587"/>
              <a:gd name="T8" fmla="*/ 2147483647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2147483647 w 2"/>
              <a:gd name="T19" fmla="*/ 0 h 1587"/>
              <a:gd name="T20" fmla="*/ 2147483647 w 2"/>
              <a:gd name="T21" fmla="*/ 0 h 1587"/>
              <a:gd name="T22" fmla="*/ 2147483647 w 2"/>
              <a:gd name="T23" fmla="*/ 0 h 1587"/>
              <a:gd name="T24" fmla="*/ 2147483647 w 2"/>
              <a:gd name="T25" fmla="*/ 0 h 1587"/>
              <a:gd name="T26" fmla="*/ 2147483647 w 2"/>
              <a:gd name="T27" fmla="*/ 0 h 1587"/>
              <a:gd name="T28" fmla="*/ 2147483647 w 2"/>
              <a:gd name="T29" fmla="*/ 0 h 1587"/>
              <a:gd name="T30" fmla="*/ 2147483647 w 2"/>
              <a:gd name="T31" fmla="*/ 0 h 1587"/>
              <a:gd name="T32" fmla="*/ 2147483647 w 2"/>
              <a:gd name="T33" fmla="*/ 0 h 1587"/>
              <a:gd name="T34" fmla="*/ 2147483647 w 2"/>
              <a:gd name="T35" fmla="*/ 0 h 1587"/>
              <a:gd name="T36" fmla="*/ 2147483647 w 2"/>
              <a:gd name="T37" fmla="*/ 0 h 1587"/>
              <a:gd name="T38" fmla="*/ 2147483647 w 2"/>
              <a:gd name="T39" fmla="*/ 0 h 1587"/>
              <a:gd name="T40" fmla="*/ 2147483647 w 2"/>
              <a:gd name="T41" fmla="*/ 0 h 1587"/>
              <a:gd name="T42" fmla="*/ 2147483647 w 2"/>
              <a:gd name="T43" fmla="*/ 0 h 1587"/>
              <a:gd name="T44" fmla="*/ 2147483647 w 2"/>
              <a:gd name="T45" fmla="*/ 0 h 1587"/>
              <a:gd name="T46" fmla="*/ 2147483647 w 2"/>
              <a:gd name="T47" fmla="*/ 0 h 1587"/>
              <a:gd name="T48" fmla="*/ 2147483647 w 2"/>
              <a:gd name="T49" fmla="*/ 0 h 1587"/>
              <a:gd name="T50" fmla="*/ 2147483647 w 2"/>
              <a:gd name="T51" fmla="*/ 0 h 1587"/>
              <a:gd name="T52" fmla="*/ 2147483647 w 2"/>
              <a:gd name="T53" fmla="*/ 0 h 1587"/>
              <a:gd name="T54" fmla="*/ 2147483647 w 2"/>
              <a:gd name="T55" fmla="*/ 0 h 1587"/>
              <a:gd name="T56" fmla="*/ 2147483647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2" name="Rectangle 1256">
            <a:extLst>
              <a:ext uri="{FF2B5EF4-FFF2-40B4-BE49-F238E27FC236}">
                <a16:creationId xmlns:a16="http://schemas.microsoft.com/office/drawing/2014/main" id="{3BE8CC15-403E-434F-AF29-6C803D096A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43" name="Freeform 1258">
            <a:extLst>
              <a:ext uri="{FF2B5EF4-FFF2-40B4-BE49-F238E27FC236}">
                <a16:creationId xmlns:a16="http://schemas.microsoft.com/office/drawing/2014/main" id="{29F2280B-3D29-4DC4-9052-A5C755B7F7E3}"/>
              </a:ext>
            </a:extLst>
          </p:cNvPr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4" name="Freeform 1266">
            <a:extLst>
              <a:ext uri="{FF2B5EF4-FFF2-40B4-BE49-F238E27FC236}">
                <a16:creationId xmlns:a16="http://schemas.microsoft.com/office/drawing/2014/main" id="{375C756E-9B95-4522-AB9E-FD7A8192223C}"/>
              </a:ext>
            </a:extLst>
          </p:cNvPr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5" name="Freeform 1269">
            <a:extLst>
              <a:ext uri="{FF2B5EF4-FFF2-40B4-BE49-F238E27FC236}">
                <a16:creationId xmlns:a16="http://schemas.microsoft.com/office/drawing/2014/main" id="{0E36EB8E-3009-4B85-89FE-E1EB397025B3}"/>
              </a:ext>
            </a:extLst>
          </p:cNvPr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>
              <a:gd name="T0" fmla="*/ 0 w 2"/>
              <a:gd name="T1" fmla="*/ 2147483647 h 3"/>
              <a:gd name="T2" fmla="*/ 2147483647 w 2"/>
              <a:gd name="T3" fmla="*/ 0 h 3"/>
              <a:gd name="T4" fmla="*/ 2147483647 w 2"/>
              <a:gd name="T5" fmla="*/ 0 h 3"/>
              <a:gd name="T6" fmla="*/ 2147483647 w 2"/>
              <a:gd name="T7" fmla="*/ 0 h 3"/>
              <a:gd name="T8" fmla="*/ 2147483647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2147483647 h 3"/>
              <a:gd name="T16" fmla="*/ 0 w 2"/>
              <a:gd name="T17" fmla="*/ 2147483647 h 3"/>
              <a:gd name="T18" fmla="*/ 2147483647 w 2"/>
              <a:gd name="T19" fmla="*/ 0 h 3"/>
              <a:gd name="T20" fmla="*/ 2147483647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2147483647 h 3"/>
              <a:gd name="T40" fmla="*/ 0 w 2"/>
              <a:gd name="T41" fmla="*/ 2147483647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6" name="Line 1270">
            <a:extLst>
              <a:ext uri="{FF2B5EF4-FFF2-40B4-BE49-F238E27FC236}">
                <a16:creationId xmlns:a16="http://schemas.microsoft.com/office/drawing/2014/main" id="{4652C408-C8DE-4AEF-84FF-04738B276A50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7" name="Line 1271">
            <a:extLst>
              <a:ext uri="{FF2B5EF4-FFF2-40B4-BE49-F238E27FC236}">
                <a16:creationId xmlns:a16="http://schemas.microsoft.com/office/drawing/2014/main" id="{65DDB928-6962-4937-807D-62A114109EFD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8" name="Rectangle 1272">
            <a:extLst>
              <a:ext uri="{FF2B5EF4-FFF2-40B4-BE49-F238E27FC236}">
                <a16:creationId xmlns:a16="http://schemas.microsoft.com/office/drawing/2014/main" id="{B11A7616-B4D3-479F-BF02-9B7026902C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49" name="Rectangle 1273">
            <a:extLst>
              <a:ext uri="{FF2B5EF4-FFF2-40B4-BE49-F238E27FC236}">
                <a16:creationId xmlns:a16="http://schemas.microsoft.com/office/drawing/2014/main" id="{24A84131-3A14-44D3-9B85-9ED77DDD05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0" name="Line 1274">
            <a:extLst>
              <a:ext uri="{FF2B5EF4-FFF2-40B4-BE49-F238E27FC236}">
                <a16:creationId xmlns:a16="http://schemas.microsoft.com/office/drawing/2014/main" id="{ED08C6BA-B7F1-4F52-8234-21CED504BBE0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1" name="Line 1275">
            <a:extLst>
              <a:ext uri="{FF2B5EF4-FFF2-40B4-BE49-F238E27FC236}">
                <a16:creationId xmlns:a16="http://schemas.microsoft.com/office/drawing/2014/main" id="{D139A433-1BF8-414C-8899-53D817A7EABD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2" name="Freeform 1277">
            <a:extLst>
              <a:ext uri="{FF2B5EF4-FFF2-40B4-BE49-F238E27FC236}">
                <a16:creationId xmlns:a16="http://schemas.microsoft.com/office/drawing/2014/main" id="{039794E7-2081-4923-81D4-EF06F6518946}"/>
              </a:ext>
            </a:extLst>
          </p:cNvPr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>
              <a:gd name="T0" fmla="*/ 0 w 1587"/>
              <a:gd name="T1" fmla="*/ 2147483647 h 2"/>
              <a:gd name="T2" fmla="*/ 0 w 1587"/>
              <a:gd name="T3" fmla="*/ 2147483647 h 2"/>
              <a:gd name="T4" fmla="*/ 0 w 1587"/>
              <a:gd name="T5" fmla="*/ 0 h 2"/>
              <a:gd name="T6" fmla="*/ 0 w 1587"/>
              <a:gd name="T7" fmla="*/ 2147483647 h 2"/>
              <a:gd name="T8" fmla="*/ 0 w 1587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3" name="Freeform 1287">
            <a:extLst>
              <a:ext uri="{FF2B5EF4-FFF2-40B4-BE49-F238E27FC236}">
                <a16:creationId xmlns:a16="http://schemas.microsoft.com/office/drawing/2014/main" id="{E5607C9B-7F93-4422-9716-1A51F1012544}"/>
              </a:ext>
            </a:extLst>
          </p:cNvPr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2147483647 h 2"/>
              <a:gd name="T4" fmla="*/ 2147483647 w 2"/>
              <a:gd name="T5" fmla="*/ 2147483647 h 2"/>
              <a:gd name="T6" fmla="*/ 2147483647 w 2"/>
              <a:gd name="T7" fmla="*/ 2147483647 h 2"/>
              <a:gd name="T8" fmla="*/ 2147483647 w 2"/>
              <a:gd name="T9" fmla="*/ 2147483647 h 2"/>
              <a:gd name="T10" fmla="*/ 2147483647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2147483647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2147483647 w 2"/>
              <a:gd name="T25" fmla="*/ 2147483647 h 2"/>
              <a:gd name="T26" fmla="*/ 2147483647 w 2"/>
              <a:gd name="T27" fmla="*/ 2147483647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4" name="Freeform 1290">
            <a:extLst>
              <a:ext uri="{FF2B5EF4-FFF2-40B4-BE49-F238E27FC236}">
                <a16:creationId xmlns:a16="http://schemas.microsoft.com/office/drawing/2014/main" id="{7562A6B4-3318-416A-A485-4945D53F3F42}"/>
              </a:ext>
            </a:extLst>
          </p:cNvPr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2147483647 h 2"/>
              <a:gd name="T6" fmla="*/ 2147483647 w 2"/>
              <a:gd name="T7" fmla="*/ 2147483647 h 2"/>
              <a:gd name="T8" fmla="*/ 2147483647 w 2"/>
              <a:gd name="T9" fmla="*/ 2147483647 h 2"/>
              <a:gd name="T10" fmla="*/ 2147483647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2147483647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2147483647 h 2"/>
              <a:gd name="T50" fmla="*/ 2147483647 w 2"/>
              <a:gd name="T51" fmla="*/ 2147483647 h 2"/>
              <a:gd name="T52" fmla="*/ 2147483647 w 2"/>
              <a:gd name="T53" fmla="*/ 0 h 2"/>
              <a:gd name="T54" fmla="*/ 2147483647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2147483647 h 2"/>
              <a:gd name="T62" fmla="*/ 0 w 2"/>
              <a:gd name="T63" fmla="*/ 2147483647 h 2"/>
              <a:gd name="T64" fmla="*/ 2147483647 w 2"/>
              <a:gd name="T65" fmla="*/ 2147483647 h 2"/>
              <a:gd name="T66" fmla="*/ 2147483647 w 2"/>
              <a:gd name="T67" fmla="*/ 2147483647 h 2"/>
              <a:gd name="T68" fmla="*/ 0 w 2"/>
              <a:gd name="T69" fmla="*/ 2147483647 h 2"/>
              <a:gd name="T70" fmla="*/ 0 w 2"/>
              <a:gd name="T71" fmla="*/ 2147483647 h 2"/>
              <a:gd name="T72" fmla="*/ 0 w 2"/>
              <a:gd name="T73" fmla="*/ 2147483647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5" name="Rectangle 1335">
            <a:extLst>
              <a:ext uri="{FF2B5EF4-FFF2-40B4-BE49-F238E27FC236}">
                <a16:creationId xmlns:a16="http://schemas.microsoft.com/office/drawing/2014/main" id="{E6056AB4-CF5B-451D-BEB4-EB1A786D2D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6" name="Rectangle 1336">
            <a:extLst>
              <a:ext uri="{FF2B5EF4-FFF2-40B4-BE49-F238E27FC236}">
                <a16:creationId xmlns:a16="http://schemas.microsoft.com/office/drawing/2014/main" id="{AA5C84C2-405A-4C71-8DAC-EDE22661FB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7" name="Rectangle 1337">
            <a:extLst>
              <a:ext uri="{FF2B5EF4-FFF2-40B4-BE49-F238E27FC236}">
                <a16:creationId xmlns:a16="http://schemas.microsoft.com/office/drawing/2014/main" id="{F3E889C8-0A4E-4ED0-98B5-F27F6C025B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8" name="Rectangle 1340">
            <a:extLst>
              <a:ext uri="{FF2B5EF4-FFF2-40B4-BE49-F238E27FC236}">
                <a16:creationId xmlns:a16="http://schemas.microsoft.com/office/drawing/2014/main" id="{256C39E5-9F26-4C02-B9CC-E798BD1C82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9" name="Rectangle 1341">
            <a:extLst>
              <a:ext uri="{FF2B5EF4-FFF2-40B4-BE49-F238E27FC236}">
                <a16:creationId xmlns:a16="http://schemas.microsoft.com/office/drawing/2014/main" id="{A15D68F8-CC3A-497E-B1EB-7E33031858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60" name="Rectangle 1342">
            <a:extLst>
              <a:ext uri="{FF2B5EF4-FFF2-40B4-BE49-F238E27FC236}">
                <a16:creationId xmlns:a16="http://schemas.microsoft.com/office/drawing/2014/main" id="{8B2A8A74-E713-407D-B56E-14C7579D04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61" name="Rectangle 1343">
            <a:extLst>
              <a:ext uri="{FF2B5EF4-FFF2-40B4-BE49-F238E27FC236}">
                <a16:creationId xmlns:a16="http://schemas.microsoft.com/office/drawing/2014/main" id="{25977F99-B333-4259-BD6F-A11DA7EAC9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62" name="Rectangle 1344">
            <a:extLst>
              <a:ext uri="{FF2B5EF4-FFF2-40B4-BE49-F238E27FC236}">
                <a16:creationId xmlns:a16="http://schemas.microsoft.com/office/drawing/2014/main" id="{56892C96-FF29-4786-B1FC-46125B276C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324" name="Title 323"/>
          <p:cNvSpPr>
            <a:spLocks noGrp="1"/>
          </p:cNvSpPr>
          <p:nvPr>
            <p:ph type="title"/>
          </p:nvPr>
        </p:nvSpPr>
        <p:spPr>
          <a:xfrm>
            <a:off x="343401" y="301625"/>
            <a:ext cx="8439652" cy="1031875"/>
          </a:xfrm>
        </p:spPr>
        <p:txBody>
          <a:bodyPr/>
          <a:lstStyle>
            <a:lvl1pPr>
              <a:defRPr b="0" i="0" cap="none" baseline="0">
                <a:solidFill>
                  <a:schemeClr val="tx1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31" name="Content Placeholder 330"/>
          <p:cNvSpPr>
            <a:spLocks noGrp="1"/>
          </p:cNvSpPr>
          <p:nvPr>
            <p:ph sz="quarter" idx="10"/>
          </p:nvPr>
        </p:nvSpPr>
        <p:spPr>
          <a:xfrm>
            <a:off x="343401" y="1460500"/>
            <a:ext cx="8440305" cy="4600863"/>
          </a:xfrm>
        </p:spPr>
        <p:txBody>
          <a:bodyPr>
            <a:normAutofit/>
          </a:bodyPr>
          <a:lstStyle>
            <a:lvl1pPr>
              <a:lnSpc>
                <a:spcPct val="130000"/>
              </a:lnSpc>
              <a:spcBef>
                <a:spcPts val="1200"/>
              </a:spcBef>
              <a:defRPr>
                <a:solidFill>
                  <a:srgbClr val="7F7F7F"/>
                </a:solidFill>
              </a:defRPr>
            </a:lvl1pPr>
            <a:lvl2pPr>
              <a:lnSpc>
                <a:spcPct val="130000"/>
              </a:lnSpc>
              <a:spcBef>
                <a:spcPts val="120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2pPr>
            <a:lvl3pPr marL="557784"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3pPr>
            <a:lvl4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4pPr>
            <a:lvl5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3" name="Footer Placeholder 8">
            <a:extLst>
              <a:ext uri="{FF2B5EF4-FFF2-40B4-BE49-F238E27FC236}">
                <a16:creationId xmlns:a16="http://schemas.microsoft.com/office/drawing/2014/main" id="{D4808B09-2682-4A3C-8866-C8B474120D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  <p:sp>
        <p:nvSpPr>
          <p:cNvPr id="64" name="Slide Number Placeholder 9">
            <a:extLst>
              <a:ext uri="{FF2B5EF4-FFF2-40B4-BE49-F238E27FC236}">
                <a16:creationId xmlns:a16="http://schemas.microsoft.com/office/drawing/2014/main" id="{B8B72FB5-C2CE-4943-ACD5-4461677544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1FC0524-9AED-456C-BADC-F0F6F26BD804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521831333"/>
      </p:ext>
    </p:extLst>
  </p:cSld>
  <p:clrMapOvr>
    <a:masterClrMapping/>
  </p:clrMapOvr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2DDCD659-8A1E-43D1-A303-AC7DA1BB421F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0" y="0"/>
            <a:ext cx="9144000" cy="4479925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578C439-90F1-4B6F-8D04-9B769F77E2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4302125"/>
            <a:ext cx="9144000" cy="176213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solidFill>
                <a:schemeClr val="bg1"/>
              </a:solidFill>
              <a:cs typeface="+mn-cs"/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1396005" y="1189789"/>
            <a:ext cx="7039470" cy="1822161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1408676" y="3000005"/>
            <a:ext cx="7026799" cy="121104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rgbClr val="FFFFFF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0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508000" y="4699001"/>
            <a:ext cx="5058833" cy="1375832"/>
          </a:xfrm>
          <a:solidFill>
            <a:srgbClr val="FFFFFF"/>
          </a:solidFill>
        </p:spPr>
        <p:txBody>
          <a:bodyPr anchor="ctr">
            <a:normAutofit/>
          </a:bodyPr>
          <a:lstStyle>
            <a:lvl1pPr algn="ctr">
              <a:defRPr baseline="0">
                <a:solidFill>
                  <a:srgbClr val="021F43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9" name="Text Placeholder 331"/>
          <p:cNvSpPr>
            <a:spLocks noGrp="1"/>
          </p:cNvSpPr>
          <p:nvPr>
            <p:ph type="body" sz="quarter" idx="14"/>
          </p:nvPr>
        </p:nvSpPr>
        <p:spPr>
          <a:xfrm>
            <a:off x="5682073" y="4699001"/>
            <a:ext cx="2821170" cy="1393637"/>
          </a:xfrm>
        </p:spPr>
        <p:txBody>
          <a:bodyPr anchor="b"/>
          <a:lstStyle>
            <a:lvl1pPr algn="r">
              <a:lnSpc>
                <a:spcPct val="100000"/>
              </a:lnSpc>
              <a:defRPr sz="1400" b="0" i="0" baseline="0">
                <a:solidFill>
                  <a:schemeClr val="tx1"/>
                </a:solidFill>
                <a:latin typeface="+mn-lt"/>
                <a:cs typeface="Arial"/>
              </a:defRPr>
            </a:lvl1pPr>
            <a:lvl2pPr algn="r">
              <a:defRPr sz="1400" b="0" i="0">
                <a:latin typeface="+mn-l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Rectangle 1028">
            <a:extLst>
              <a:ext uri="{FF2B5EF4-FFF2-40B4-BE49-F238E27FC236}">
                <a16:creationId xmlns:a16="http://schemas.microsoft.com/office/drawing/2014/main" id="{C5546F9E-B215-488B-83F5-D1F383644CC9}"/>
              </a:ext>
            </a:extLst>
          </p:cNvPr>
          <p:cNvSpPr>
            <a:spLocks noGrp="1" noChangeArrowheads="1"/>
          </p:cNvSpPr>
          <p:nvPr>
            <p:ph type="dt" sz="half" idx="17"/>
          </p:nvPr>
        </p:nvSpPr>
        <p:spPr>
          <a:xfrm>
            <a:off x="5716588" y="6116638"/>
            <a:ext cx="2719387" cy="306387"/>
          </a:xfrm>
        </p:spPr>
        <p:txBody>
          <a:bodyPr rIns="0" anchor="ctr"/>
          <a:lstStyle>
            <a:lvl1pPr algn="r">
              <a:defRPr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2998540"/>
      </p:ext>
    </p:extLst>
  </p:cSld>
  <p:clrMapOvr>
    <a:masterClrMapping/>
  </p:clrMapOvr>
  <p:hf hd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with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1682">
            <a:extLst>
              <a:ext uri="{FF2B5EF4-FFF2-40B4-BE49-F238E27FC236}">
                <a16:creationId xmlns:a16="http://schemas.microsoft.com/office/drawing/2014/main" id="{DEB0FBCB-A869-4CAE-8825-C4AF702FA324}"/>
              </a:ext>
            </a:extLst>
          </p:cNvPr>
          <p:cNvSpPr>
            <a:spLocks/>
          </p:cNvSpPr>
          <p:nvPr/>
        </p:nvSpPr>
        <p:spPr bwMode="auto">
          <a:xfrm flipH="1">
            <a:off x="6380163" y="615950"/>
            <a:ext cx="1014412" cy="1895475"/>
          </a:xfrm>
          <a:custGeom>
            <a:avLst/>
            <a:gdLst>
              <a:gd name="T0" fmla="*/ 0 w 638"/>
              <a:gd name="T1" fmla="*/ 0 h 1194"/>
              <a:gd name="T2" fmla="*/ 2147483647 w 638"/>
              <a:gd name="T3" fmla="*/ 2147483647 h 1194"/>
              <a:gd name="T4" fmla="*/ 2147483647 w 638"/>
              <a:gd name="T5" fmla="*/ 2147483647 h 1194"/>
              <a:gd name="T6" fmla="*/ 2147483647 w 638"/>
              <a:gd name="T7" fmla="*/ 2147483647 h 1194"/>
              <a:gd name="T8" fmla="*/ 2147483647 w 638"/>
              <a:gd name="T9" fmla="*/ 2147483647 h 1194"/>
              <a:gd name="T10" fmla="*/ 2147483647 w 638"/>
              <a:gd name="T11" fmla="*/ 2147483647 h 1194"/>
              <a:gd name="T12" fmla="*/ 2147483647 w 638"/>
              <a:gd name="T13" fmla="*/ 2147483647 h 1194"/>
              <a:gd name="T14" fmla="*/ 2147483647 w 638"/>
              <a:gd name="T15" fmla="*/ 2147483647 h 1194"/>
              <a:gd name="T16" fmla="*/ 2147483647 w 638"/>
              <a:gd name="T17" fmla="*/ 2147483647 h 1194"/>
              <a:gd name="T18" fmla="*/ 2147483647 w 638"/>
              <a:gd name="T19" fmla="*/ 2147483647 h 1194"/>
              <a:gd name="T20" fmla="*/ 2147483647 w 638"/>
              <a:gd name="T21" fmla="*/ 2147483647 h 1194"/>
              <a:gd name="T22" fmla="*/ 2147483647 w 638"/>
              <a:gd name="T23" fmla="*/ 2147483647 h 1194"/>
              <a:gd name="T24" fmla="*/ 2147483647 w 638"/>
              <a:gd name="T25" fmla="*/ 2147483647 h 1194"/>
              <a:gd name="T26" fmla="*/ 2147483647 w 638"/>
              <a:gd name="T27" fmla="*/ 2147483647 h 1194"/>
              <a:gd name="T28" fmla="*/ 2147483647 w 638"/>
              <a:gd name="T29" fmla="*/ 2147483647 h 1194"/>
              <a:gd name="T30" fmla="*/ 2147483647 w 638"/>
              <a:gd name="T31" fmla="*/ 2147483647 h 1194"/>
              <a:gd name="T32" fmla="*/ 2147483647 w 638"/>
              <a:gd name="T33" fmla="*/ 2147483647 h 1194"/>
              <a:gd name="T34" fmla="*/ 2147483647 w 638"/>
              <a:gd name="T35" fmla="*/ 2147483647 h 1194"/>
              <a:gd name="T36" fmla="*/ 2147483647 w 638"/>
              <a:gd name="T37" fmla="*/ 2147483647 h 1194"/>
              <a:gd name="T38" fmla="*/ 2147483647 w 638"/>
              <a:gd name="T39" fmla="*/ 2147483647 h 1194"/>
              <a:gd name="T40" fmla="*/ 2147483647 w 638"/>
              <a:gd name="T41" fmla="*/ 2147483647 h 1194"/>
              <a:gd name="T42" fmla="*/ 2147483647 w 638"/>
              <a:gd name="T43" fmla="*/ 2147483647 h 1194"/>
              <a:gd name="T44" fmla="*/ 2147483647 w 638"/>
              <a:gd name="T45" fmla="*/ 2147483647 h 1194"/>
              <a:gd name="T46" fmla="*/ 2147483647 w 638"/>
              <a:gd name="T47" fmla="*/ 2147483647 h 1194"/>
              <a:gd name="T48" fmla="*/ 2147483647 w 638"/>
              <a:gd name="T49" fmla="*/ 2147483647 h 1194"/>
              <a:gd name="T50" fmla="*/ 2147483647 w 638"/>
              <a:gd name="T51" fmla="*/ 2147483647 h 1194"/>
              <a:gd name="T52" fmla="*/ 2147483647 w 638"/>
              <a:gd name="T53" fmla="*/ 2147483647 h 1194"/>
              <a:gd name="T54" fmla="*/ 2147483647 w 638"/>
              <a:gd name="T55" fmla="*/ 2147483647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" name="Freeform 1683">
            <a:extLst>
              <a:ext uri="{FF2B5EF4-FFF2-40B4-BE49-F238E27FC236}">
                <a16:creationId xmlns:a16="http://schemas.microsoft.com/office/drawing/2014/main" id="{39F75347-F413-4844-8D83-E80CC33E9E0A}"/>
              </a:ext>
            </a:extLst>
          </p:cNvPr>
          <p:cNvSpPr>
            <a:spLocks/>
          </p:cNvSpPr>
          <p:nvPr/>
        </p:nvSpPr>
        <p:spPr bwMode="auto">
          <a:xfrm flipH="1">
            <a:off x="7410450" y="3175"/>
            <a:ext cx="712788" cy="584200"/>
          </a:xfrm>
          <a:custGeom>
            <a:avLst/>
            <a:gdLst>
              <a:gd name="T0" fmla="*/ 2147483647 w 448"/>
              <a:gd name="T1" fmla="*/ 2147483647 h 372"/>
              <a:gd name="T2" fmla="*/ 2147483647 w 448"/>
              <a:gd name="T3" fmla="*/ 2147483647 h 372"/>
              <a:gd name="T4" fmla="*/ 2147483647 w 448"/>
              <a:gd name="T5" fmla="*/ 2147483647 h 372"/>
              <a:gd name="T6" fmla="*/ 2147483647 w 448"/>
              <a:gd name="T7" fmla="*/ 2147483647 h 372"/>
              <a:gd name="T8" fmla="*/ 2147483647 w 448"/>
              <a:gd name="T9" fmla="*/ 2147483647 h 372"/>
              <a:gd name="T10" fmla="*/ 2147483647 w 448"/>
              <a:gd name="T11" fmla="*/ 2147483647 h 372"/>
              <a:gd name="T12" fmla="*/ 0 w 448"/>
              <a:gd name="T13" fmla="*/ 0 h 372"/>
              <a:gd name="T14" fmla="*/ 2147483647 w 448"/>
              <a:gd name="T15" fmla="*/ 0 h 372"/>
              <a:gd name="T16" fmla="*/ 2147483647 w 448"/>
              <a:gd name="T17" fmla="*/ 2147483647 h 372"/>
              <a:gd name="T18" fmla="*/ 2147483647 w 448"/>
              <a:gd name="T19" fmla="*/ 2147483647 h 372"/>
              <a:gd name="T20" fmla="*/ 2147483647 w 448"/>
              <a:gd name="T21" fmla="*/ 2147483647 h 372"/>
              <a:gd name="T22" fmla="*/ 2147483647 w 448"/>
              <a:gd name="T23" fmla="*/ 2147483647 h 372"/>
              <a:gd name="T24" fmla="*/ 2147483647 w 448"/>
              <a:gd name="T25" fmla="*/ 2147483647 h 372"/>
              <a:gd name="T26" fmla="*/ 2147483647 w 448"/>
              <a:gd name="T27" fmla="*/ 2147483647 h 372"/>
              <a:gd name="T28" fmla="*/ 2147483647 w 448"/>
              <a:gd name="T29" fmla="*/ 2147483647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324" name="Title 323"/>
          <p:cNvSpPr>
            <a:spLocks noGrp="1"/>
          </p:cNvSpPr>
          <p:nvPr>
            <p:ph type="title"/>
          </p:nvPr>
        </p:nvSpPr>
        <p:spPr>
          <a:xfrm>
            <a:off x="356934" y="301625"/>
            <a:ext cx="8439487" cy="667338"/>
          </a:xfrm>
        </p:spPr>
        <p:txBody>
          <a:bodyPr/>
          <a:lstStyle>
            <a:lvl1pPr>
              <a:defRPr b="0" i="0" cap="none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31" name="Content Placeholder 330"/>
          <p:cNvSpPr>
            <a:spLocks noGrp="1"/>
          </p:cNvSpPr>
          <p:nvPr>
            <p:ph sz="quarter" idx="10"/>
          </p:nvPr>
        </p:nvSpPr>
        <p:spPr>
          <a:xfrm>
            <a:off x="356934" y="1599260"/>
            <a:ext cx="8440305" cy="4462104"/>
          </a:xfrm>
        </p:spPr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356934" y="1025408"/>
            <a:ext cx="8435473" cy="517408"/>
          </a:xfrm>
        </p:spPr>
        <p:txBody>
          <a:bodyPr>
            <a:norm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600" b="0" cap="none" baseline="0">
                <a:solidFill>
                  <a:schemeClr val="tx1"/>
                </a:solidFill>
              </a:defRPr>
            </a:lvl1pPr>
            <a:lvl2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857364B4-1228-475B-ACF0-A988B9B6853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BF62ABDC-F0B0-429B-A774-22282DC846D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fld id="{B5C243D6-0699-47E7-9B2B-BBFD7E0F76AB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054914800"/>
      </p:ext>
    </p:extLst>
  </p:cSld>
  <p:clrMapOvr>
    <a:masterClrMapping/>
  </p:clrMapOvr>
  <p:hf hd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56934" y="306742"/>
            <a:ext cx="3010890" cy="5616076"/>
          </a:xfrm>
        </p:spPr>
        <p:txBody>
          <a:bodyPr anchor="ctr"/>
          <a:lstStyle>
            <a:lvl1pPr algn="l">
              <a:defRPr sz="2400" b="0" i="0" cap="all" baseline="0">
                <a:solidFill>
                  <a:schemeClr val="tx1"/>
                </a:solidFill>
                <a:latin typeface="+mn-lt"/>
                <a:cs typeface="Andes ExtraLight"/>
              </a:defRPr>
            </a:lvl1pPr>
            <a:lvl2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2pPr>
            <a:lvl3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3pPr>
            <a:lvl4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4pPr>
            <a:lvl5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3000" y="295615"/>
            <a:ext cx="5207000" cy="5592567"/>
          </a:xfrm>
        </p:spPr>
        <p:txBody>
          <a:bodyPr anchor="ctr"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6A593386-E8BB-45F2-9C9F-702FB23A32E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4C5CA96-C2A4-40D2-BF18-F23C1B71310D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984DFDCA-9867-4B8A-9CB2-D78573D888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2390014269"/>
      </p:ext>
    </p:extLst>
  </p:cSld>
  <p:clrMapOvr>
    <a:masterClrMapping/>
  </p:clrMapOvr>
  <p:hf hd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3" y="288636"/>
            <a:ext cx="8533067" cy="461819"/>
          </a:xfrm>
        </p:spPr>
        <p:txBody>
          <a:bodyPr/>
          <a:lstStyle>
            <a:lvl1pPr>
              <a:defRPr sz="2200" b="0" i="0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3000" y="983838"/>
            <a:ext cx="5207000" cy="4904344"/>
          </a:xfrm>
        </p:spPr>
        <p:txBody>
          <a:bodyPr anchor="ctr"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1F46F348-64CA-4CCB-8203-8773236601B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50DFB59-E0D1-492F-ACF4-233FECDB42AA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3D9889DC-4C1A-4EC5-84CA-0E6268F37C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511043177"/>
      </p:ext>
    </p:extLst>
  </p:cSld>
  <p:clrMapOvr>
    <a:masterClrMapping/>
  </p:clrMapOvr>
  <p:hf hd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graph with Graphic El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0842" y="288636"/>
            <a:ext cx="8569158" cy="461819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22841" y="1443789"/>
            <a:ext cx="5307263" cy="4545263"/>
          </a:xfrm>
        </p:spPr>
        <p:txBody>
          <a:bodyPr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21093" y="1003049"/>
            <a:ext cx="3087853" cy="4972050"/>
          </a:xfrm>
        </p:spPr>
        <p:txBody>
          <a:bodyPr rIns="182880" anchor="ctr"/>
          <a:lstStyle>
            <a:lvl1pPr>
              <a:defRPr sz="160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3622675" y="976312"/>
            <a:ext cx="5294062" cy="414003"/>
          </a:xfrm>
        </p:spPr>
        <p:txBody>
          <a:bodyPr/>
          <a:lstStyle>
            <a:lvl1pPr algn="ctr">
              <a:defRPr sz="1600" b="0" cap="all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72D4B7BA-836F-40E9-BED4-BC2AFB361AA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9EBBE4FD-129D-44EF-B017-8D4C38DC52AA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C799810D-A837-4AEC-935D-E505E042755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3360800877"/>
      </p:ext>
    </p:extLst>
  </p:cSld>
  <p:clrMapOvr>
    <a:masterClrMapping/>
  </p:clrMapOvr>
  <p:hf hd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s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4"/>
            <a:ext cx="8410104" cy="983693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56934" y="1788583"/>
            <a:ext cx="4133273" cy="4399780"/>
          </a:xfrm>
        </p:spPr>
        <p:txBody>
          <a:bodyPr lIns="182880" rIns="182880" anchor="ctr"/>
          <a:lstStyle>
            <a:lvl1pPr marL="0" marR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 sz="1600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11"/>
          </p:nvPr>
        </p:nvSpPr>
        <p:spPr>
          <a:xfrm>
            <a:off x="4657428" y="1788509"/>
            <a:ext cx="4133088" cy="4402163"/>
          </a:xfrm>
        </p:spPr>
        <p:txBody>
          <a:bodyPr lIns="182880" rIns="182880" anchor="ctr"/>
          <a:lstStyle>
            <a:lvl1pPr marL="0" marR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 sz="1600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13"/>
          </p:nvPr>
        </p:nvSpPr>
        <p:spPr>
          <a:xfrm>
            <a:off x="356934" y="1429560"/>
            <a:ext cx="4133273" cy="264331"/>
          </a:xfrm>
        </p:spPr>
        <p:txBody>
          <a:bodyPr anchor="ctr">
            <a:normAutofit/>
          </a:bodyPr>
          <a:lstStyle>
            <a:lvl1pPr algn="ctr">
              <a:defRPr sz="1400" cap="all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4"/>
          </p:nvPr>
        </p:nvSpPr>
        <p:spPr>
          <a:xfrm>
            <a:off x="4657429" y="1421539"/>
            <a:ext cx="4133088" cy="264331"/>
          </a:xfrm>
        </p:spPr>
        <p:txBody>
          <a:bodyPr anchor="ctr">
            <a:normAutofit/>
          </a:bodyPr>
          <a:lstStyle>
            <a:lvl1pPr algn="ctr">
              <a:defRPr sz="1400" cap="all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5ECE16A4-9581-41B8-96B6-6F1AECE925D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ED703D01-E545-454E-B56E-9D158AB5ECAC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09F90E78-01B3-44E9-9A94-4DA1C337A75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852068353"/>
      </p:ext>
    </p:extLst>
  </p:cSld>
  <p:clrMapOvr>
    <a:masterClrMapping/>
  </p:clrMapOvr>
  <p:hf hd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46364"/>
            <a:ext cx="3145592" cy="5784272"/>
          </a:xfrm>
        </p:spPr>
        <p:txBody>
          <a:bodyPr anchor="ctr"/>
          <a:lstStyle>
            <a:lvl1pPr>
              <a:defRPr sz="3200" b="0" i="0">
                <a:solidFill>
                  <a:schemeClr val="bg2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2999" y="346364"/>
            <a:ext cx="5166895" cy="5784271"/>
          </a:xfrm>
        </p:spPr>
        <p:txBody>
          <a:bodyPr anchor="ctr"/>
          <a:lstStyle>
            <a:lvl1pPr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defRPr sz="22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 marL="0" indent="0"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buNone/>
              <a:defRPr sz="2000" baseline="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 marL="18288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 marL="454914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8C263F1D-7AD9-44E4-9EC9-88043994494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71A0084-5EC0-4D10-8D33-7AB399472711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E5E36981-7DC5-4CEE-BCA1-1C56F048A3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1093598170"/>
      </p:ext>
    </p:extLst>
  </p:cSld>
  <p:clrMapOvr>
    <a:masterClrMapping/>
  </p:clrMapOvr>
  <p:hf hd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46364"/>
            <a:ext cx="3145592" cy="5784272"/>
          </a:xfrm>
        </p:spPr>
        <p:txBody>
          <a:bodyPr anchor="ctr"/>
          <a:lstStyle>
            <a:lvl1pPr>
              <a:defRPr sz="3200" b="0" i="0">
                <a:solidFill>
                  <a:schemeClr val="tx1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2999" y="346364"/>
            <a:ext cx="5166895" cy="5784271"/>
          </a:xfrm>
        </p:spPr>
        <p:txBody>
          <a:bodyPr anchor="ctr"/>
          <a:lstStyle>
            <a:lvl1pPr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defRPr sz="22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 marL="0" indent="0"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buNone/>
              <a:defRPr sz="2000" baseline="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 marL="18288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 marL="454914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D971238A-98D8-4FF3-8806-60E07ED2C9A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CBFBF85-D6D6-4806-8810-366DEDE21A51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1AC35530-917E-4D70-9EE0-23811959CD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972359068"/>
      </p:ext>
    </p:extLst>
  </p:cSld>
  <p:clrMapOvr>
    <a:masterClrMapping/>
  </p:clrMapOvr>
  <p:hf hd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b St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Freeform 1683">
            <a:extLst>
              <a:ext uri="{FF2B5EF4-FFF2-40B4-BE49-F238E27FC236}">
                <a16:creationId xmlns:a16="http://schemas.microsoft.com/office/drawing/2014/main" id="{5BFEFA31-B9C6-4568-B0C8-64632FA0DAF5}"/>
              </a:ext>
            </a:extLst>
          </p:cNvPr>
          <p:cNvSpPr>
            <a:spLocks/>
          </p:cNvSpPr>
          <p:nvPr/>
        </p:nvSpPr>
        <p:spPr bwMode="auto">
          <a:xfrm flipH="1">
            <a:off x="7410450" y="3175"/>
            <a:ext cx="712788" cy="584200"/>
          </a:xfrm>
          <a:custGeom>
            <a:avLst/>
            <a:gdLst>
              <a:gd name="T0" fmla="*/ 2147483647 w 448"/>
              <a:gd name="T1" fmla="*/ 2147483647 h 372"/>
              <a:gd name="T2" fmla="*/ 2147483647 w 448"/>
              <a:gd name="T3" fmla="*/ 2147483647 h 372"/>
              <a:gd name="T4" fmla="*/ 2147483647 w 448"/>
              <a:gd name="T5" fmla="*/ 2147483647 h 372"/>
              <a:gd name="T6" fmla="*/ 2147483647 w 448"/>
              <a:gd name="T7" fmla="*/ 2147483647 h 372"/>
              <a:gd name="T8" fmla="*/ 2147483647 w 448"/>
              <a:gd name="T9" fmla="*/ 2147483647 h 372"/>
              <a:gd name="T10" fmla="*/ 2147483647 w 448"/>
              <a:gd name="T11" fmla="*/ 2147483647 h 372"/>
              <a:gd name="T12" fmla="*/ 0 w 448"/>
              <a:gd name="T13" fmla="*/ 0 h 372"/>
              <a:gd name="T14" fmla="*/ 2147483647 w 448"/>
              <a:gd name="T15" fmla="*/ 0 h 372"/>
              <a:gd name="T16" fmla="*/ 2147483647 w 448"/>
              <a:gd name="T17" fmla="*/ 2147483647 h 372"/>
              <a:gd name="T18" fmla="*/ 2147483647 w 448"/>
              <a:gd name="T19" fmla="*/ 2147483647 h 372"/>
              <a:gd name="T20" fmla="*/ 2147483647 w 448"/>
              <a:gd name="T21" fmla="*/ 2147483647 h 372"/>
              <a:gd name="T22" fmla="*/ 2147483647 w 448"/>
              <a:gd name="T23" fmla="*/ 2147483647 h 372"/>
              <a:gd name="T24" fmla="*/ 2147483647 w 448"/>
              <a:gd name="T25" fmla="*/ 2147483647 h 372"/>
              <a:gd name="T26" fmla="*/ 2147483647 w 448"/>
              <a:gd name="T27" fmla="*/ 2147483647 h 372"/>
              <a:gd name="T28" fmla="*/ 2147483647 w 448"/>
              <a:gd name="T29" fmla="*/ 2147483647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4" name="Line 1086">
            <a:extLst>
              <a:ext uri="{FF2B5EF4-FFF2-40B4-BE49-F238E27FC236}">
                <a16:creationId xmlns:a16="http://schemas.microsoft.com/office/drawing/2014/main" id="{8A81A185-1E4C-4AC8-BF2B-77C6E5DE8665}"/>
              </a:ext>
            </a:extLst>
          </p:cNvPr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5" name="Line 1087">
            <a:extLst>
              <a:ext uri="{FF2B5EF4-FFF2-40B4-BE49-F238E27FC236}">
                <a16:creationId xmlns:a16="http://schemas.microsoft.com/office/drawing/2014/main" id="{6D64B74A-C5EA-4979-B7B8-7A9E6F1684BD}"/>
              </a:ext>
            </a:extLst>
          </p:cNvPr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6" name="Rectangle 1088">
            <a:extLst>
              <a:ext uri="{FF2B5EF4-FFF2-40B4-BE49-F238E27FC236}">
                <a16:creationId xmlns:a16="http://schemas.microsoft.com/office/drawing/2014/main" id="{D13571BC-E645-465F-A286-1CD5AF98EB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77" name="Rectangle 1089">
            <a:extLst>
              <a:ext uri="{FF2B5EF4-FFF2-40B4-BE49-F238E27FC236}">
                <a16:creationId xmlns:a16="http://schemas.microsoft.com/office/drawing/2014/main" id="{F8F7D73E-C852-4F61-8745-018FE346BF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78" name="Freeform 1098">
            <a:extLst>
              <a:ext uri="{FF2B5EF4-FFF2-40B4-BE49-F238E27FC236}">
                <a16:creationId xmlns:a16="http://schemas.microsoft.com/office/drawing/2014/main" id="{03083A04-8FF9-4CE0-97C1-E0CD8017F006}"/>
              </a:ext>
            </a:extLst>
          </p:cNvPr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>
              <a:gd name="T0" fmla="*/ 0 w 2"/>
              <a:gd name="T1" fmla="*/ 0 h 1587"/>
              <a:gd name="T2" fmla="*/ 2147483647 w 2"/>
              <a:gd name="T3" fmla="*/ 0 h 1587"/>
              <a:gd name="T4" fmla="*/ 2147483647 w 2"/>
              <a:gd name="T5" fmla="*/ 0 h 1587"/>
              <a:gd name="T6" fmla="*/ 2147483647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2147483647 w 2"/>
              <a:gd name="T35" fmla="*/ 0 h 1587"/>
              <a:gd name="T36" fmla="*/ 2147483647 w 2"/>
              <a:gd name="T37" fmla="*/ 0 h 1587"/>
              <a:gd name="T38" fmla="*/ 2147483647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9" name="Freeform 1115">
            <a:extLst>
              <a:ext uri="{FF2B5EF4-FFF2-40B4-BE49-F238E27FC236}">
                <a16:creationId xmlns:a16="http://schemas.microsoft.com/office/drawing/2014/main" id="{2FF406BE-DA23-461F-9B7D-4D45B480DBC4}"/>
              </a:ext>
            </a:extLst>
          </p:cNvPr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0 w 2"/>
              <a:gd name="T5" fmla="*/ 2147483647 h 2"/>
              <a:gd name="T6" fmla="*/ 0 w 2"/>
              <a:gd name="T7" fmla="*/ 2147483647 h 2"/>
              <a:gd name="T8" fmla="*/ 0 w 2"/>
              <a:gd name="T9" fmla="*/ 2147483647 h 2"/>
              <a:gd name="T10" fmla="*/ 0 w 2"/>
              <a:gd name="T11" fmla="*/ 2147483647 h 2"/>
              <a:gd name="T12" fmla="*/ 2147483647 w 2"/>
              <a:gd name="T13" fmla="*/ 2147483647 h 2"/>
              <a:gd name="T14" fmla="*/ 2147483647 w 2"/>
              <a:gd name="T15" fmla="*/ 2147483647 h 2"/>
              <a:gd name="T16" fmla="*/ 2147483647 w 2"/>
              <a:gd name="T17" fmla="*/ 0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0 w 2"/>
              <a:gd name="T25" fmla="*/ 2147483647 h 2"/>
              <a:gd name="T26" fmla="*/ 0 w 2"/>
              <a:gd name="T27" fmla="*/ 2147483647 h 2"/>
              <a:gd name="T28" fmla="*/ 2147483647 w 2"/>
              <a:gd name="T29" fmla="*/ 2147483647 h 2"/>
              <a:gd name="T30" fmla="*/ 2147483647 w 2"/>
              <a:gd name="T31" fmla="*/ 2147483647 h 2"/>
              <a:gd name="T32" fmla="*/ 2147483647 w 2"/>
              <a:gd name="T33" fmla="*/ 2147483647 h 2"/>
              <a:gd name="T34" fmla="*/ 2147483647 w 2"/>
              <a:gd name="T35" fmla="*/ 2147483647 h 2"/>
              <a:gd name="T36" fmla="*/ 2147483647 w 2"/>
              <a:gd name="T37" fmla="*/ 2147483647 h 2"/>
              <a:gd name="T38" fmla="*/ 2147483647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0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0 w 2"/>
              <a:gd name="T53" fmla="*/ 2147483647 h 2"/>
              <a:gd name="T54" fmla="*/ 2147483647 w 2"/>
              <a:gd name="T55" fmla="*/ 2147483647 h 2"/>
              <a:gd name="T56" fmla="*/ 0 w 2"/>
              <a:gd name="T57" fmla="*/ 2147483647 h 2"/>
              <a:gd name="T58" fmla="*/ 2147483647 w 2"/>
              <a:gd name="T59" fmla="*/ 2147483647 h 2"/>
              <a:gd name="T60" fmla="*/ 2147483647 w 2"/>
              <a:gd name="T61" fmla="*/ 2147483647 h 2"/>
              <a:gd name="T62" fmla="*/ 2147483647 w 2"/>
              <a:gd name="T63" fmla="*/ 2147483647 h 2"/>
              <a:gd name="T64" fmla="*/ 0 w 2"/>
              <a:gd name="T65" fmla="*/ 2147483647 h 2"/>
              <a:gd name="T66" fmla="*/ 0 w 2"/>
              <a:gd name="T67" fmla="*/ 2147483647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0" name="Freeform 1120">
            <a:extLst>
              <a:ext uri="{FF2B5EF4-FFF2-40B4-BE49-F238E27FC236}">
                <a16:creationId xmlns:a16="http://schemas.microsoft.com/office/drawing/2014/main" id="{1D7A9035-6B98-49F4-A062-4C35EE32151F}"/>
              </a:ext>
            </a:extLst>
          </p:cNvPr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2147483647 h 2"/>
              <a:gd name="T4" fmla="*/ 0 w 2"/>
              <a:gd name="T5" fmla="*/ 2147483647 h 2"/>
              <a:gd name="T6" fmla="*/ 0 w 2"/>
              <a:gd name="T7" fmla="*/ 2147483647 h 2"/>
              <a:gd name="T8" fmla="*/ 2147483647 w 2"/>
              <a:gd name="T9" fmla="*/ 2147483647 h 2"/>
              <a:gd name="T10" fmla="*/ 2147483647 w 2"/>
              <a:gd name="T11" fmla="*/ 0 h 2"/>
              <a:gd name="T12" fmla="*/ 2147483647 w 2"/>
              <a:gd name="T13" fmla="*/ 0 h 2"/>
              <a:gd name="T14" fmla="*/ 2147483647 w 2"/>
              <a:gd name="T15" fmla="*/ 0 h 2"/>
              <a:gd name="T16" fmla="*/ 0 w 2"/>
              <a:gd name="T17" fmla="*/ 0 h 2"/>
              <a:gd name="T18" fmla="*/ 0 w 2"/>
              <a:gd name="T19" fmla="*/ 2147483647 h 2"/>
              <a:gd name="T20" fmla="*/ 0 w 2"/>
              <a:gd name="T21" fmla="*/ 2147483647 h 2"/>
              <a:gd name="T22" fmla="*/ 2147483647 w 2"/>
              <a:gd name="T23" fmla="*/ 0 h 2"/>
              <a:gd name="T24" fmla="*/ 2147483647 w 2"/>
              <a:gd name="T25" fmla="*/ 0 h 2"/>
              <a:gd name="T26" fmla="*/ 2147483647 w 2"/>
              <a:gd name="T27" fmla="*/ 0 h 2"/>
              <a:gd name="T28" fmla="*/ 2147483647 w 2"/>
              <a:gd name="T29" fmla="*/ 2147483647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2147483647 h 2"/>
              <a:gd name="T38" fmla="*/ 0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2147483647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2147483647 w 2"/>
              <a:gd name="T53" fmla="*/ 2147483647 h 2"/>
              <a:gd name="T54" fmla="*/ 2147483647 w 2"/>
              <a:gd name="T55" fmla="*/ 2147483647 h 2"/>
              <a:gd name="T56" fmla="*/ 2147483647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1" name="Freeform 1134">
            <a:extLst>
              <a:ext uri="{FF2B5EF4-FFF2-40B4-BE49-F238E27FC236}">
                <a16:creationId xmlns:a16="http://schemas.microsoft.com/office/drawing/2014/main" id="{99F64C7C-A7FF-4303-898B-9BDF2A8B681F}"/>
              </a:ext>
            </a:extLst>
          </p:cNvPr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>
              <a:gd name="T0" fmla="*/ 2147483647 w 2"/>
              <a:gd name="T1" fmla="*/ 2147483647 h 4"/>
              <a:gd name="T2" fmla="*/ 2147483647 w 2"/>
              <a:gd name="T3" fmla="*/ 2147483647 h 4"/>
              <a:gd name="T4" fmla="*/ 2147483647 w 2"/>
              <a:gd name="T5" fmla="*/ 2147483647 h 4"/>
              <a:gd name="T6" fmla="*/ 2147483647 w 2"/>
              <a:gd name="T7" fmla="*/ 2147483647 h 4"/>
              <a:gd name="T8" fmla="*/ 2147483647 w 2"/>
              <a:gd name="T9" fmla="*/ 0 h 4"/>
              <a:gd name="T10" fmla="*/ 2147483647 w 2"/>
              <a:gd name="T11" fmla="*/ 0 h 4"/>
              <a:gd name="T12" fmla="*/ 2147483647 w 2"/>
              <a:gd name="T13" fmla="*/ 0 h 4"/>
              <a:gd name="T14" fmla="*/ 0 w 2"/>
              <a:gd name="T15" fmla="*/ 2147483647 h 4"/>
              <a:gd name="T16" fmla="*/ 2147483647 w 2"/>
              <a:gd name="T17" fmla="*/ 2147483647 h 4"/>
              <a:gd name="T18" fmla="*/ 2147483647 w 2"/>
              <a:gd name="T19" fmla="*/ 2147483647 h 4"/>
              <a:gd name="T20" fmla="*/ 2147483647 w 2"/>
              <a:gd name="T21" fmla="*/ 2147483647 h 4"/>
              <a:gd name="T22" fmla="*/ 2147483647 w 2"/>
              <a:gd name="T23" fmla="*/ 0 h 4"/>
              <a:gd name="T24" fmla="*/ 2147483647 w 2"/>
              <a:gd name="T25" fmla="*/ 2147483647 h 4"/>
              <a:gd name="T26" fmla="*/ 2147483647 w 2"/>
              <a:gd name="T27" fmla="*/ 2147483647 h 4"/>
              <a:gd name="T28" fmla="*/ 2147483647 w 2"/>
              <a:gd name="T29" fmla="*/ 2147483647 h 4"/>
              <a:gd name="T30" fmla="*/ 2147483647 w 2"/>
              <a:gd name="T31" fmla="*/ 2147483647 h 4"/>
              <a:gd name="T32" fmla="*/ 2147483647 w 2"/>
              <a:gd name="T33" fmla="*/ 2147483647 h 4"/>
              <a:gd name="T34" fmla="*/ 2147483647 w 2"/>
              <a:gd name="T35" fmla="*/ 2147483647 h 4"/>
              <a:gd name="T36" fmla="*/ 2147483647 w 2"/>
              <a:gd name="T37" fmla="*/ 2147483647 h 4"/>
              <a:gd name="T38" fmla="*/ 2147483647 w 2"/>
              <a:gd name="T39" fmla="*/ 2147483647 h 4"/>
              <a:gd name="T40" fmla="*/ 2147483647 w 2"/>
              <a:gd name="T41" fmla="*/ 2147483647 h 4"/>
              <a:gd name="T42" fmla="*/ 2147483647 w 2"/>
              <a:gd name="T43" fmla="*/ 2147483647 h 4"/>
              <a:gd name="T44" fmla="*/ 2147483647 w 2"/>
              <a:gd name="T45" fmla="*/ 2147483647 h 4"/>
              <a:gd name="T46" fmla="*/ 2147483647 w 2"/>
              <a:gd name="T47" fmla="*/ 2147483647 h 4"/>
              <a:gd name="T48" fmla="*/ 2147483647 w 2"/>
              <a:gd name="T49" fmla="*/ 2147483647 h 4"/>
              <a:gd name="T50" fmla="*/ 2147483647 w 2"/>
              <a:gd name="T51" fmla="*/ 2147483647 h 4"/>
              <a:gd name="T52" fmla="*/ 0 w 2"/>
              <a:gd name="T53" fmla="*/ 2147483647 h 4"/>
              <a:gd name="T54" fmla="*/ 2147483647 w 2"/>
              <a:gd name="T55" fmla="*/ 2147483647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2" name="Freeform 1141">
            <a:extLst>
              <a:ext uri="{FF2B5EF4-FFF2-40B4-BE49-F238E27FC236}">
                <a16:creationId xmlns:a16="http://schemas.microsoft.com/office/drawing/2014/main" id="{4D8CECC3-10E0-4B69-B5FC-D2FC02EFFC4B}"/>
              </a:ext>
            </a:extLst>
          </p:cNvPr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>
              <a:gd name="T0" fmla="*/ 0 w 1587"/>
              <a:gd name="T1" fmla="*/ 2147483647 h 4"/>
              <a:gd name="T2" fmla="*/ 0 w 1587"/>
              <a:gd name="T3" fmla="*/ 2147483647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2147483647 h 4"/>
              <a:gd name="T10" fmla="*/ 0 w 1587"/>
              <a:gd name="T11" fmla="*/ 2147483647 h 4"/>
              <a:gd name="T12" fmla="*/ 0 w 1587"/>
              <a:gd name="T13" fmla="*/ 2147483647 h 4"/>
              <a:gd name="T14" fmla="*/ 0 w 1587"/>
              <a:gd name="T15" fmla="*/ 2147483647 h 4"/>
              <a:gd name="T16" fmla="*/ 0 w 1587"/>
              <a:gd name="T17" fmla="*/ 2147483647 h 4"/>
              <a:gd name="T18" fmla="*/ 0 w 1587"/>
              <a:gd name="T19" fmla="*/ 2147483647 h 4"/>
              <a:gd name="T20" fmla="*/ 0 w 1587"/>
              <a:gd name="T21" fmla="*/ 2147483647 h 4"/>
              <a:gd name="T22" fmla="*/ 0 w 1587"/>
              <a:gd name="T23" fmla="*/ 2147483647 h 4"/>
              <a:gd name="T24" fmla="*/ 0 w 1587"/>
              <a:gd name="T25" fmla="*/ 2147483647 h 4"/>
              <a:gd name="T26" fmla="*/ 0 w 1587"/>
              <a:gd name="T27" fmla="*/ 2147483647 h 4"/>
              <a:gd name="T28" fmla="*/ 0 w 1587"/>
              <a:gd name="T29" fmla="*/ 2147483647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" name="Freeform 1148">
            <a:extLst>
              <a:ext uri="{FF2B5EF4-FFF2-40B4-BE49-F238E27FC236}">
                <a16:creationId xmlns:a16="http://schemas.microsoft.com/office/drawing/2014/main" id="{A1685C3C-4DEA-4429-B033-36B7FE92E08B}"/>
              </a:ext>
            </a:extLst>
          </p:cNvPr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>
              <a:gd name="T0" fmla="*/ 2147483647 w 2"/>
              <a:gd name="T1" fmla="*/ 2147483647 h 2"/>
              <a:gd name="T2" fmla="*/ 2147483647 w 2"/>
              <a:gd name="T3" fmla="*/ 0 h 2"/>
              <a:gd name="T4" fmla="*/ 2147483647 w 2"/>
              <a:gd name="T5" fmla="*/ 0 h 2"/>
              <a:gd name="T6" fmla="*/ 2147483647 w 2"/>
              <a:gd name="T7" fmla="*/ 0 h 2"/>
              <a:gd name="T8" fmla="*/ 2147483647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2147483647 h 2"/>
              <a:gd name="T16" fmla="*/ 0 w 2"/>
              <a:gd name="T17" fmla="*/ 2147483647 h 2"/>
              <a:gd name="T18" fmla="*/ 0 w 2"/>
              <a:gd name="T19" fmla="*/ 2147483647 h 2"/>
              <a:gd name="T20" fmla="*/ 2147483647 w 2"/>
              <a:gd name="T21" fmla="*/ 2147483647 h 2"/>
              <a:gd name="T22" fmla="*/ 2147483647 w 2"/>
              <a:gd name="T23" fmla="*/ 2147483647 h 2"/>
              <a:gd name="T24" fmla="*/ 2147483647 w 2"/>
              <a:gd name="T25" fmla="*/ 0 h 2"/>
              <a:gd name="T26" fmla="*/ 2147483647 w 2"/>
              <a:gd name="T27" fmla="*/ 0 h 2"/>
              <a:gd name="T28" fmla="*/ 2147483647 w 2"/>
              <a:gd name="T29" fmla="*/ 0 h 2"/>
              <a:gd name="T30" fmla="*/ 0 w 2"/>
              <a:gd name="T31" fmla="*/ 2147483647 h 2"/>
              <a:gd name="T32" fmla="*/ 2147483647 w 2"/>
              <a:gd name="T33" fmla="*/ 2147483647 h 2"/>
              <a:gd name="T34" fmla="*/ 2147483647 w 2"/>
              <a:gd name="T35" fmla="*/ 0 h 2"/>
              <a:gd name="T36" fmla="*/ 0 w 2"/>
              <a:gd name="T37" fmla="*/ 2147483647 h 2"/>
              <a:gd name="T38" fmla="*/ 2147483647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0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0 w 2"/>
              <a:gd name="T53" fmla="*/ 2147483647 h 2"/>
              <a:gd name="T54" fmla="*/ 0 w 2"/>
              <a:gd name="T55" fmla="*/ 2147483647 h 2"/>
              <a:gd name="T56" fmla="*/ 0 w 2"/>
              <a:gd name="T57" fmla="*/ 2147483647 h 2"/>
              <a:gd name="T58" fmla="*/ 2147483647 w 2"/>
              <a:gd name="T59" fmla="*/ 2147483647 h 2"/>
              <a:gd name="T60" fmla="*/ 2147483647 w 2"/>
              <a:gd name="T61" fmla="*/ 2147483647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4" name="Freeform 1150">
            <a:extLst>
              <a:ext uri="{FF2B5EF4-FFF2-40B4-BE49-F238E27FC236}">
                <a16:creationId xmlns:a16="http://schemas.microsoft.com/office/drawing/2014/main" id="{77FC5C64-0DD9-4B2A-ABF2-A522609F911C}"/>
              </a:ext>
            </a:extLst>
          </p:cNvPr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>
              <a:gd name="T0" fmla="*/ 0 w 1587"/>
              <a:gd name="T1" fmla="*/ 2147483647 h 2"/>
              <a:gd name="T2" fmla="*/ 0 w 1587"/>
              <a:gd name="T3" fmla="*/ 0 h 2"/>
              <a:gd name="T4" fmla="*/ 0 w 1587"/>
              <a:gd name="T5" fmla="*/ 2147483647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5" name="Freeform 1152">
            <a:extLst>
              <a:ext uri="{FF2B5EF4-FFF2-40B4-BE49-F238E27FC236}">
                <a16:creationId xmlns:a16="http://schemas.microsoft.com/office/drawing/2014/main" id="{D3D080CD-8E75-4B8E-884A-32AB3A48C60C}"/>
              </a:ext>
            </a:extLst>
          </p:cNvPr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>
              <a:gd name="T0" fmla="*/ 2147483647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2147483647 h 2"/>
              <a:gd name="T10" fmla="*/ 2147483647 w 2"/>
              <a:gd name="T11" fmla="*/ 2147483647 h 2"/>
              <a:gd name="T12" fmla="*/ 2147483647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2147483647 h 2"/>
              <a:gd name="T22" fmla="*/ 2147483647 w 2"/>
              <a:gd name="T23" fmla="*/ 2147483647 h 2"/>
              <a:gd name="T24" fmla="*/ 2147483647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6" name="Freeform 1154">
            <a:extLst>
              <a:ext uri="{FF2B5EF4-FFF2-40B4-BE49-F238E27FC236}">
                <a16:creationId xmlns:a16="http://schemas.microsoft.com/office/drawing/2014/main" id="{CE9A6D95-CB39-4143-9036-C63743CD87A9}"/>
              </a:ext>
            </a:extLst>
          </p:cNvPr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>
              <a:gd name="T0" fmla="*/ 2147483647 w 2"/>
              <a:gd name="T1" fmla="*/ 0 h 1588"/>
              <a:gd name="T2" fmla="*/ 0 w 2"/>
              <a:gd name="T3" fmla="*/ 0 h 1588"/>
              <a:gd name="T4" fmla="*/ 2147483647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7" name="Freeform 1156">
            <a:extLst>
              <a:ext uri="{FF2B5EF4-FFF2-40B4-BE49-F238E27FC236}">
                <a16:creationId xmlns:a16="http://schemas.microsoft.com/office/drawing/2014/main" id="{CC8F3F55-1CAF-4EFE-88C0-06DCDE473673}"/>
              </a:ext>
            </a:extLst>
          </p:cNvPr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>
              <a:gd name="T0" fmla="*/ 2147483647 w 2"/>
              <a:gd name="T1" fmla="*/ 2147483647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2147483647 h 2"/>
              <a:gd name="T8" fmla="*/ 2147483647 w 2"/>
              <a:gd name="T9" fmla="*/ 2147483647 h 2"/>
              <a:gd name="T10" fmla="*/ 2147483647 w 2"/>
              <a:gd name="T11" fmla="*/ 2147483647 h 2"/>
              <a:gd name="T12" fmla="*/ 2147483647 w 2"/>
              <a:gd name="T13" fmla="*/ 2147483647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2147483647 h 2"/>
              <a:gd name="T20" fmla="*/ 2147483647 w 2"/>
              <a:gd name="T21" fmla="*/ 2147483647 h 2"/>
              <a:gd name="T22" fmla="*/ 2147483647 w 2"/>
              <a:gd name="T23" fmla="*/ 2147483647 h 2"/>
              <a:gd name="T24" fmla="*/ 2147483647 w 2"/>
              <a:gd name="T25" fmla="*/ 2147483647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8" name="Freeform 1163">
            <a:extLst>
              <a:ext uri="{FF2B5EF4-FFF2-40B4-BE49-F238E27FC236}">
                <a16:creationId xmlns:a16="http://schemas.microsoft.com/office/drawing/2014/main" id="{4584A908-01FC-4932-9006-155BF5BAF468}"/>
              </a:ext>
            </a:extLst>
          </p:cNvPr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>
              <a:gd name="T0" fmla="*/ 2147483647 w 4"/>
              <a:gd name="T1" fmla="*/ 2147483647 h 2"/>
              <a:gd name="T2" fmla="*/ 2147483647 w 4"/>
              <a:gd name="T3" fmla="*/ 2147483647 h 2"/>
              <a:gd name="T4" fmla="*/ 2147483647 w 4"/>
              <a:gd name="T5" fmla="*/ 2147483647 h 2"/>
              <a:gd name="T6" fmla="*/ 2147483647 w 4"/>
              <a:gd name="T7" fmla="*/ 0 h 2"/>
              <a:gd name="T8" fmla="*/ 2147483647 w 4"/>
              <a:gd name="T9" fmla="*/ 0 h 2"/>
              <a:gd name="T10" fmla="*/ 2147483647 w 4"/>
              <a:gd name="T11" fmla="*/ 0 h 2"/>
              <a:gd name="T12" fmla="*/ 2147483647 w 4"/>
              <a:gd name="T13" fmla="*/ 0 h 2"/>
              <a:gd name="T14" fmla="*/ 0 w 4"/>
              <a:gd name="T15" fmla="*/ 2147483647 h 2"/>
              <a:gd name="T16" fmla="*/ 2147483647 w 4"/>
              <a:gd name="T17" fmla="*/ 2147483647 h 2"/>
              <a:gd name="T18" fmla="*/ 2147483647 w 4"/>
              <a:gd name="T19" fmla="*/ 0 h 2"/>
              <a:gd name="T20" fmla="*/ 2147483647 w 4"/>
              <a:gd name="T21" fmla="*/ 2147483647 h 2"/>
              <a:gd name="T22" fmla="*/ 2147483647 w 4"/>
              <a:gd name="T23" fmla="*/ 0 h 2"/>
              <a:gd name="T24" fmla="*/ 2147483647 w 4"/>
              <a:gd name="T25" fmla="*/ 0 h 2"/>
              <a:gd name="T26" fmla="*/ 2147483647 w 4"/>
              <a:gd name="T27" fmla="*/ 0 h 2"/>
              <a:gd name="T28" fmla="*/ 2147483647 w 4"/>
              <a:gd name="T29" fmla="*/ 0 h 2"/>
              <a:gd name="T30" fmla="*/ 0 w 4"/>
              <a:gd name="T31" fmla="*/ 0 h 2"/>
              <a:gd name="T32" fmla="*/ 2147483647 w 4"/>
              <a:gd name="T33" fmla="*/ 2147483647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9" name="Freeform 1172">
            <a:extLst>
              <a:ext uri="{FF2B5EF4-FFF2-40B4-BE49-F238E27FC236}">
                <a16:creationId xmlns:a16="http://schemas.microsoft.com/office/drawing/2014/main" id="{ACB354BF-ECF8-4F3A-814E-C29D34699827}"/>
              </a:ext>
            </a:extLst>
          </p:cNvPr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2147483647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2147483647 h 2"/>
              <a:gd name="T14" fmla="*/ 0 w 2"/>
              <a:gd name="T15" fmla="*/ 2147483647 h 2"/>
              <a:gd name="T16" fmla="*/ 0 w 2"/>
              <a:gd name="T17" fmla="*/ 2147483647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0 w 2"/>
              <a:gd name="T25" fmla="*/ 2147483647 h 2"/>
              <a:gd name="T26" fmla="*/ 0 w 2"/>
              <a:gd name="T27" fmla="*/ 2147483647 h 2"/>
              <a:gd name="T28" fmla="*/ 0 w 2"/>
              <a:gd name="T29" fmla="*/ 2147483647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2147483647 h 2"/>
              <a:gd name="T38" fmla="*/ 0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0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0 w 2"/>
              <a:gd name="T53" fmla="*/ 2147483647 h 2"/>
              <a:gd name="T54" fmla="*/ 0 w 2"/>
              <a:gd name="T55" fmla="*/ 2147483647 h 2"/>
              <a:gd name="T56" fmla="*/ 0 w 2"/>
              <a:gd name="T57" fmla="*/ 2147483647 h 2"/>
              <a:gd name="T58" fmla="*/ 0 w 2"/>
              <a:gd name="T59" fmla="*/ 2147483647 h 2"/>
              <a:gd name="T60" fmla="*/ 0 w 2"/>
              <a:gd name="T61" fmla="*/ 2147483647 h 2"/>
              <a:gd name="T62" fmla="*/ 0 w 2"/>
              <a:gd name="T63" fmla="*/ 2147483647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0" name="Freeform 1177">
            <a:extLst>
              <a:ext uri="{FF2B5EF4-FFF2-40B4-BE49-F238E27FC236}">
                <a16:creationId xmlns:a16="http://schemas.microsoft.com/office/drawing/2014/main" id="{EEA806DA-DF24-4B3D-B26B-D9A57FBFEE67}"/>
              </a:ext>
            </a:extLst>
          </p:cNvPr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>
              <a:gd name="T0" fmla="*/ 0 w 2"/>
              <a:gd name="T1" fmla="*/ 2147483647 h 2"/>
              <a:gd name="T2" fmla="*/ 2147483647 w 2"/>
              <a:gd name="T3" fmla="*/ 2147483647 h 2"/>
              <a:gd name="T4" fmla="*/ 2147483647 w 2"/>
              <a:gd name="T5" fmla="*/ 2147483647 h 2"/>
              <a:gd name="T6" fmla="*/ 2147483647 w 2"/>
              <a:gd name="T7" fmla="*/ 0 h 2"/>
              <a:gd name="T8" fmla="*/ 2147483647 w 2"/>
              <a:gd name="T9" fmla="*/ 0 h 2"/>
              <a:gd name="T10" fmla="*/ 2147483647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2147483647 h 2"/>
              <a:gd name="T40" fmla="*/ 0 w 2"/>
              <a:gd name="T41" fmla="*/ 2147483647 h 2"/>
              <a:gd name="T42" fmla="*/ 2147483647 w 2"/>
              <a:gd name="T43" fmla="*/ 2147483647 h 2"/>
              <a:gd name="T44" fmla="*/ 2147483647 w 2"/>
              <a:gd name="T45" fmla="*/ 0 h 2"/>
              <a:gd name="T46" fmla="*/ 2147483647 w 2"/>
              <a:gd name="T47" fmla="*/ 0 h 2"/>
              <a:gd name="T48" fmla="*/ 2147483647 w 2"/>
              <a:gd name="T49" fmla="*/ 0 h 2"/>
              <a:gd name="T50" fmla="*/ 2147483647 w 2"/>
              <a:gd name="T51" fmla="*/ 0 h 2"/>
              <a:gd name="T52" fmla="*/ 2147483647 w 2"/>
              <a:gd name="T53" fmla="*/ 0 h 2"/>
              <a:gd name="T54" fmla="*/ 2147483647 w 2"/>
              <a:gd name="T55" fmla="*/ 0 h 2"/>
              <a:gd name="T56" fmla="*/ 2147483647 w 2"/>
              <a:gd name="T57" fmla="*/ 0 h 2"/>
              <a:gd name="T58" fmla="*/ 2147483647 w 2"/>
              <a:gd name="T59" fmla="*/ 0 h 2"/>
              <a:gd name="T60" fmla="*/ 2147483647 w 2"/>
              <a:gd name="T61" fmla="*/ 0 h 2"/>
              <a:gd name="T62" fmla="*/ 2147483647 w 2"/>
              <a:gd name="T63" fmla="*/ 0 h 2"/>
              <a:gd name="T64" fmla="*/ 2147483647 w 2"/>
              <a:gd name="T65" fmla="*/ 0 h 2"/>
              <a:gd name="T66" fmla="*/ 2147483647 w 2"/>
              <a:gd name="T67" fmla="*/ 2147483647 h 2"/>
              <a:gd name="T68" fmla="*/ 2147483647 w 2"/>
              <a:gd name="T69" fmla="*/ 0 h 2"/>
              <a:gd name="T70" fmla="*/ 2147483647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2147483647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1" name="Freeform 1180">
            <a:extLst>
              <a:ext uri="{FF2B5EF4-FFF2-40B4-BE49-F238E27FC236}">
                <a16:creationId xmlns:a16="http://schemas.microsoft.com/office/drawing/2014/main" id="{95D34BCF-741B-46EB-A0F3-3DC5A1F1953C}"/>
              </a:ext>
            </a:extLst>
          </p:cNvPr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>
              <a:gd name="T0" fmla="*/ 0 w 2"/>
              <a:gd name="T1" fmla="*/ 2147483647 h 3"/>
              <a:gd name="T2" fmla="*/ 0 w 2"/>
              <a:gd name="T3" fmla="*/ 2147483647 h 3"/>
              <a:gd name="T4" fmla="*/ 2147483647 w 2"/>
              <a:gd name="T5" fmla="*/ 2147483647 h 3"/>
              <a:gd name="T6" fmla="*/ 2147483647 w 2"/>
              <a:gd name="T7" fmla="*/ 2147483647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2147483647 h 3"/>
              <a:gd name="T16" fmla="*/ 0 w 2"/>
              <a:gd name="T17" fmla="*/ 2147483647 h 3"/>
              <a:gd name="T18" fmla="*/ 0 w 2"/>
              <a:gd name="T19" fmla="*/ 2147483647 h 3"/>
              <a:gd name="T20" fmla="*/ 0 w 2"/>
              <a:gd name="T21" fmla="*/ 2147483647 h 3"/>
              <a:gd name="T22" fmla="*/ 0 w 2"/>
              <a:gd name="T23" fmla="*/ 0 h 3"/>
              <a:gd name="T24" fmla="*/ 0 w 2"/>
              <a:gd name="T25" fmla="*/ 2147483647 h 3"/>
              <a:gd name="T26" fmla="*/ 0 w 2"/>
              <a:gd name="T27" fmla="*/ 2147483647 h 3"/>
              <a:gd name="T28" fmla="*/ 0 w 2"/>
              <a:gd name="T29" fmla="*/ 2147483647 h 3"/>
              <a:gd name="T30" fmla="*/ 0 w 2"/>
              <a:gd name="T31" fmla="*/ 2147483647 h 3"/>
              <a:gd name="T32" fmla="*/ 0 w 2"/>
              <a:gd name="T33" fmla="*/ 2147483647 h 3"/>
              <a:gd name="T34" fmla="*/ 0 w 2"/>
              <a:gd name="T35" fmla="*/ 2147483647 h 3"/>
              <a:gd name="T36" fmla="*/ 0 w 2"/>
              <a:gd name="T37" fmla="*/ 2147483647 h 3"/>
              <a:gd name="T38" fmla="*/ 0 w 2"/>
              <a:gd name="T39" fmla="*/ 2147483647 h 3"/>
              <a:gd name="T40" fmla="*/ 0 w 2"/>
              <a:gd name="T41" fmla="*/ 2147483647 h 3"/>
              <a:gd name="T42" fmla="*/ 0 w 2"/>
              <a:gd name="T43" fmla="*/ 2147483647 h 3"/>
              <a:gd name="T44" fmla="*/ 0 w 2"/>
              <a:gd name="T45" fmla="*/ 2147483647 h 3"/>
              <a:gd name="T46" fmla="*/ 0 w 2"/>
              <a:gd name="T47" fmla="*/ 2147483647 h 3"/>
              <a:gd name="T48" fmla="*/ 0 w 2"/>
              <a:gd name="T49" fmla="*/ 2147483647 h 3"/>
              <a:gd name="T50" fmla="*/ 0 w 2"/>
              <a:gd name="T51" fmla="*/ 2147483647 h 3"/>
              <a:gd name="T52" fmla="*/ 0 w 2"/>
              <a:gd name="T53" fmla="*/ 2147483647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2" name="Line 1187">
            <a:extLst>
              <a:ext uri="{FF2B5EF4-FFF2-40B4-BE49-F238E27FC236}">
                <a16:creationId xmlns:a16="http://schemas.microsoft.com/office/drawing/2014/main" id="{2753965E-146B-45D0-B8E5-BBF74F452294}"/>
              </a:ext>
            </a:extLst>
          </p:cNvPr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3" name="Line 1188">
            <a:extLst>
              <a:ext uri="{FF2B5EF4-FFF2-40B4-BE49-F238E27FC236}">
                <a16:creationId xmlns:a16="http://schemas.microsoft.com/office/drawing/2014/main" id="{B242A472-F266-4C4C-BF69-7338CCCFED46}"/>
              </a:ext>
            </a:extLst>
          </p:cNvPr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4" name="Freeform 1208">
            <a:extLst>
              <a:ext uri="{FF2B5EF4-FFF2-40B4-BE49-F238E27FC236}">
                <a16:creationId xmlns:a16="http://schemas.microsoft.com/office/drawing/2014/main" id="{FBCC16A7-2961-4DE5-BC90-3C9E8602B412}"/>
              </a:ext>
            </a:extLst>
          </p:cNvPr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5" name="Freeform 1210">
            <a:extLst>
              <a:ext uri="{FF2B5EF4-FFF2-40B4-BE49-F238E27FC236}">
                <a16:creationId xmlns:a16="http://schemas.microsoft.com/office/drawing/2014/main" id="{4C8A5580-AFEE-417A-A853-490CC2B571DE}"/>
              </a:ext>
            </a:extLst>
          </p:cNvPr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2147483647 h 2"/>
              <a:gd name="T6" fmla="*/ 2147483647 w 2"/>
              <a:gd name="T7" fmla="*/ 0 h 2"/>
              <a:gd name="T8" fmla="*/ 2147483647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2147483647 h 2"/>
              <a:gd name="T18" fmla="*/ 0 w 2"/>
              <a:gd name="T19" fmla="*/ 2147483647 h 2"/>
              <a:gd name="T20" fmla="*/ 2147483647 w 2"/>
              <a:gd name="T21" fmla="*/ 2147483647 h 2"/>
              <a:gd name="T22" fmla="*/ 2147483647 w 2"/>
              <a:gd name="T23" fmla="*/ 0 h 2"/>
              <a:gd name="T24" fmla="*/ 2147483647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2147483647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6" name="Freeform 1214">
            <a:extLst>
              <a:ext uri="{FF2B5EF4-FFF2-40B4-BE49-F238E27FC236}">
                <a16:creationId xmlns:a16="http://schemas.microsoft.com/office/drawing/2014/main" id="{ED0830FB-256C-46A3-BC49-466ACFAF3565}"/>
              </a:ext>
            </a:extLst>
          </p:cNvPr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2147483647 h 2"/>
              <a:gd name="T2" fmla="*/ 2147483647 w 2"/>
              <a:gd name="T3" fmla="*/ 2147483647 h 2"/>
              <a:gd name="T4" fmla="*/ 0 w 2"/>
              <a:gd name="T5" fmla="*/ 0 h 2"/>
              <a:gd name="T6" fmla="*/ 0 w 2"/>
              <a:gd name="T7" fmla="*/ 2147483647 h 2"/>
              <a:gd name="T8" fmla="*/ 0 w 2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7" name="Rectangle 1215">
            <a:extLst>
              <a:ext uri="{FF2B5EF4-FFF2-40B4-BE49-F238E27FC236}">
                <a16:creationId xmlns:a16="http://schemas.microsoft.com/office/drawing/2014/main" id="{33431B4B-1A77-4C94-BFEC-DDC54E8265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98" name="Freeform 1217">
            <a:extLst>
              <a:ext uri="{FF2B5EF4-FFF2-40B4-BE49-F238E27FC236}">
                <a16:creationId xmlns:a16="http://schemas.microsoft.com/office/drawing/2014/main" id="{CB8FFAA2-3DE7-4296-96A1-0BC2C301FCB1}"/>
              </a:ext>
            </a:extLst>
          </p:cNvPr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9" name="Freeform 1219">
            <a:extLst>
              <a:ext uri="{FF2B5EF4-FFF2-40B4-BE49-F238E27FC236}">
                <a16:creationId xmlns:a16="http://schemas.microsoft.com/office/drawing/2014/main" id="{13F89176-268E-45EC-8951-7934E269005C}"/>
              </a:ext>
            </a:extLst>
          </p:cNvPr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0" name="Freeform 1221">
            <a:extLst>
              <a:ext uri="{FF2B5EF4-FFF2-40B4-BE49-F238E27FC236}">
                <a16:creationId xmlns:a16="http://schemas.microsoft.com/office/drawing/2014/main" id="{A1CAB820-8B52-405B-98C8-EFA9B48C3C33}"/>
              </a:ext>
            </a:extLst>
          </p:cNvPr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>
              <a:gd name="T0" fmla="*/ 2147483647 w 2"/>
              <a:gd name="T1" fmla="*/ 0 h 2"/>
              <a:gd name="T2" fmla="*/ 2147483647 w 2"/>
              <a:gd name="T3" fmla="*/ 0 h 2"/>
              <a:gd name="T4" fmla="*/ 2147483647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2147483647 h 2"/>
              <a:gd name="T12" fmla="*/ 2147483647 w 2"/>
              <a:gd name="T13" fmla="*/ 0 h 2"/>
              <a:gd name="T14" fmla="*/ 2147483647 w 2"/>
              <a:gd name="T15" fmla="*/ 0 h 2"/>
              <a:gd name="T16" fmla="*/ 2147483647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2147483647 h 2"/>
              <a:gd name="T24" fmla="*/ 2147483647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1" name="Freeform 1234">
            <a:extLst>
              <a:ext uri="{FF2B5EF4-FFF2-40B4-BE49-F238E27FC236}">
                <a16:creationId xmlns:a16="http://schemas.microsoft.com/office/drawing/2014/main" id="{C40ED277-0E0F-4E8B-AAE9-655F9B963729}"/>
              </a:ext>
            </a:extLst>
          </p:cNvPr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2147483647 w 2"/>
              <a:gd name="T5" fmla="*/ 0 h 1587"/>
              <a:gd name="T6" fmla="*/ 2147483647 w 2"/>
              <a:gd name="T7" fmla="*/ 0 h 1587"/>
              <a:gd name="T8" fmla="*/ 2147483647 w 2"/>
              <a:gd name="T9" fmla="*/ 0 h 1587"/>
              <a:gd name="T10" fmla="*/ 2147483647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2147483647 w 2"/>
              <a:gd name="T25" fmla="*/ 0 h 1587"/>
              <a:gd name="T26" fmla="*/ 2147483647 w 2"/>
              <a:gd name="T27" fmla="*/ 0 h 1587"/>
              <a:gd name="T28" fmla="*/ 2147483647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2147483647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2" name="Line 1237">
            <a:extLst>
              <a:ext uri="{FF2B5EF4-FFF2-40B4-BE49-F238E27FC236}">
                <a16:creationId xmlns:a16="http://schemas.microsoft.com/office/drawing/2014/main" id="{C893446B-533B-4608-928E-63CE79226518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3" name="Line 1238">
            <a:extLst>
              <a:ext uri="{FF2B5EF4-FFF2-40B4-BE49-F238E27FC236}">
                <a16:creationId xmlns:a16="http://schemas.microsoft.com/office/drawing/2014/main" id="{402AA6B7-780F-4EA7-89ED-D0DE58F9449F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4" name="Freeform 1240">
            <a:extLst>
              <a:ext uri="{FF2B5EF4-FFF2-40B4-BE49-F238E27FC236}">
                <a16:creationId xmlns:a16="http://schemas.microsoft.com/office/drawing/2014/main" id="{82EF9DA2-A776-4D28-881A-18243BADD181}"/>
              </a:ext>
            </a:extLst>
          </p:cNvPr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>
              <a:gd name="T0" fmla="*/ 0 w 1587"/>
              <a:gd name="T1" fmla="*/ 2147483647 h 2"/>
              <a:gd name="T2" fmla="*/ 0 w 1587"/>
              <a:gd name="T3" fmla="*/ 2147483647 h 2"/>
              <a:gd name="T4" fmla="*/ 0 w 1587"/>
              <a:gd name="T5" fmla="*/ 0 h 2"/>
              <a:gd name="T6" fmla="*/ 0 w 1587"/>
              <a:gd name="T7" fmla="*/ 2147483647 h 2"/>
              <a:gd name="T8" fmla="*/ 0 w 1587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5" name="Freeform 1243">
            <a:extLst>
              <a:ext uri="{FF2B5EF4-FFF2-40B4-BE49-F238E27FC236}">
                <a16:creationId xmlns:a16="http://schemas.microsoft.com/office/drawing/2014/main" id="{DA207D8E-C082-43E3-80E5-4C5DA25CB309}"/>
              </a:ext>
            </a:extLst>
          </p:cNvPr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>
              <a:gd name="T0" fmla="*/ 2147483647 w 2"/>
              <a:gd name="T1" fmla="*/ 2147483647 h 2"/>
              <a:gd name="T2" fmla="*/ 2147483647 w 2"/>
              <a:gd name="T3" fmla="*/ 2147483647 h 2"/>
              <a:gd name="T4" fmla="*/ 2147483647 w 2"/>
              <a:gd name="T5" fmla="*/ 2147483647 h 2"/>
              <a:gd name="T6" fmla="*/ 2147483647 w 2"/>
              <a:gd name="T7" fmla="*/ 2147483647 h 2"/>
              <a:gd name="T8" fmla="*/ 0 w 2"/>
              <a:gd name="T9" fmla="*/ 2147483647 h 2"/>
              <a:gd name="T10" fmla="*/ 0 w 2"/>
              <a:gd name="T11" fmla="*/ 2147483647 h 2"/>
              <a:gd name="T12" fmla="*/ 2147483647 w 2"/>
              <a:gd name="T13" fmla="*/ 2147483647 h 2"/>
              <a:gd name="T14" fmla="*/ 0 w 2"/>
              <a:gd name="T15" fmla="*/ 2147483647 h 2"/>
              <a:gd name="T16" fmla="*/ 0 w 2"/>
              <a:gd name="T17" fmla="*/ 2147483647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0 w 2"/>
              <a:gd name="T25" fmla="*/ 2147483647 h 2"/>
              <a:gd name="T26" fmla="*/ 0 w 2"/>
              <a:gd name="T27" fmla="*/ 2147483647 h 2"/>
              <a:gd name="T28" fmla="*/ 0 w 2"/>
              <a:gd name="T29" fmla="*/ 2147483647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2147483647 h 2"/>
              <a:gd name="T38" fmla="*/ 2147483647 w 2"/>
              <a:gd name="T39" fmla="*/ 2147483647 h 2"/>
              <a:gd name="T40" fmla="*/ 2147483647 w 2"/>
              <a:gd name="T41" fmla="*/ 2147483647 h 2"/>
              <a:gd name="T42" fmla="*/ 2147483647 w 2"/>
              <a:gd name="T43" fmla="*/ 2147483647 h 2"/>
              <a:gd name="T44" fmla="*/ 2147483647 w 2"/>
              <a:gd name="T45" fmla="*/ 2147483647 h 2"/>
              <a:gd name="T46" fmla="*/ 2147483647 w 2"/>
              <a:gd name="T47" fmla="*/ 2147483647 h 2"/>
              <a:gd name="T48" fmla="*/ 0 w 2"/>
              <a:gd name="T49" fmla="*/ 0 h 2"/>
              <a:gd name="T50" fmla="*/ 0 w 2"/>
              <a:gd name="T51" fmla="*/ 2147483647 h 2"/>
              <a:gd name="T52" fmla="*/ 0 w 2"/>
              <a:gd name="T53" fmla="*/ 2147483647 h 2"/>
              <a:gd name="T54" fmla="*/ 0 w 2"/>
              <a:gd name="T55" fmla="*/ 2147483647 h 2"/>
              <a:gd name="T56" fmla="*/ 2147483647 w 2"/>
              <a:gd name="T57" fmla="*/ 2147483647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6" name="Freeform 1246">
            <a:extLst>
              <a:ext uri="{FF2B5EF4-FFF2-40B4-BE49-F238E27FC236}">
                <a16:creationId xmlns:a16="http://schemas.microsoft.com/office/drawing/2014/main" id="{05CA4221-63B1-478C-9F93-1E7B4AB4EB17}"/>
              </a:ext>
            </a:extLst>
          </p:cNvPr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0 h 2"/>
              <a:gd name="T6" fmla="*/ 2147483647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2147483647 h 2"/>
              <a:gd name="T14" fmla="*/ 0 w 2"/>
              <a:gd name="T15" fmla="*/ 2147483647 h 2"/>
              <a:gd name="T16" fmla="*/ 2147483647 w 2"/>
              <a:gd name="T17" fmla="*/ 0 h 2"/>
              <a:gd name="T18" fmla="*/ 2147483647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2147483647 h 2"/>
              <a:gd name="T48" fmla="*/ 0 w 2"/>
              <a:gd name="T49" fmla="*/ 2147483647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7" name="Freeform 1250">
            <a:extLst>
              <a:ext uri="{FF2B5EF4-FFF2-40B4-BE49-F238E27FC236}">
                <a16:creationId xmlns:a16="http://schemas.microsoft.com/office/drawing/2014/main" id="{BD88FF35-D636-4E9B-B9DF-1A75BA493659}"/>
              </a:ext>
            </a:extLst>
          </p:cNvPr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>
              <a:gd name="T0" fmla="*/ 2147483647 w 2"/>
              <a:gd name="T1" fmla="*/ 0 h 1588"/>
              <a:gd name="T2" fmla="*/ 0 w 2"/>
              <a:gd name="T3" fmla="*/ 0 h 1588"/>
              <a:gd name="T4" fmla="*/ 2147483647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8" name="Freeform 1252">
            <a:extLst>
              <a:ext uri="{FF2B5EF4-FFF2-40B4-BE49-F238E27FC236}">
                <a16:creationId xmlns:a16="http://schemas.microsoft.com/office/drawing/2014/main" id="{2CEA3ADF-B15E-4ECF-B5C0-46F2F436726C}"/>
              </a:ext>
            </a:extLst>
          </p:cNvPr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>
              <a:gd name="T0" fmla="*/ 2147483647 w 2"/>
              <a:gd name="T1" fmla="*/ 2147483647 h 5"/>
              <a:gd name="T2" fmla="*/ 2147483647 w 2"/>
              <a:gd name="T3" fmla="*/ 2147483647 h 5"/>
              <a:gd name="T4" fmla="*/ 0 w 2"/>
              <a:gd name="T5" fmla="*/ 0 h 5"/>
              <a:gd name="T6" fmla="*/ 0 w 2"/>
              <a:gd name="T7" fmla="*/ 2147483647 h 5"/>
              <a:gd name="T8" fmla="*/ 0 w 2"/>
              <a:gd name="T9" fmla="*/ 2147483647 h 5"/>
              <a:gd name="T10" fmla="*/ 2147483647 w 2"/>
              <a:gd name="T11" fmla="*/ 2147483647 h 5"/>
              <a:gd name="T12" fmla="*/ 2147483647 w 2"/>
              <a:gd name="T13" fmla="*/ 2147483647 h 5"/>
              <a:gd name="T14" fmla="*/ 2147483647 w 2"/>
              <a:gd name="T15" fmla="*/ 2147483647 h 5"/>
              <a:gd name="T16" fmla="*/ 0 w 2"/>
              <a:gd name="T17" fmla="*/ 0 h 5"/>
              <a:gd name="T18" fmla="*/ 0 w 2"/>
              <a:gd name="T19" fmla="*/ 2147483647 h 5"/>
              <a:gd name="T20" fmla="*/ 0 w 2"/>
              <a:gd name="T21" fmla="*/ 2147483647 h 5"/>
              <a:gd name="T22" fmla="*/ 2147483647 w 2"/>
              <a:gd name="T23" fmla="*/ 2147483647 h 5"/>
              <a:gd name="T24" fmla="*/ 2147483647 w 2"/>
              <a:gd name="T25" fmla="*/ 2147483647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9" name="Freeform 1255">
            <a:extLst>
              <a:ext uri="{FF2B5EF4-FFF2-40B4-BE49-F238E27FC236}">
                <a16:creationId xmlns:a16="http://schemas.microsoft.com/office/drawing/2014/main" id="{7CB50F23-B67A-43E6-83FE-8237A51634DB}"/>
              </a:ext>
            </a:extLst>
          </p:cNvPr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2147483647 w 2"/>
              <a:gd name="T3" fmla="*/ 0 h 1587"/>
              <a:gd name="T4" fmla="*/ 2147483647 w 2"/>
              <a:gd name="T5" fmla="*/ 0 h 1587"/>
              <a:gd name="T6" fmla="*/ 2147483647 w 2"/>
              <a:gd name="T7" fmla="*/ 0 h 1587"/>
              <a:gd name="T8" fmla="*/ 2147483647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2147483647 w 2"/>
              <a:gd name="T19" fmla="*/ 0 h 1587"/>
              <a:gd name="T20" fmla="*/ 2147483647 w 2"/>
              <a:gd name="T21" fmla="*/ 0 h 1587"/>
              <a:gd name="T22" fmla="*/ 2147483647 w 2"/>
              <a:gd name="T23" fmla="*/ 0 h 1587"/>
              <a:gd name="T24" fmla="*/ 2147483647 w 2"/>
              <a:gd name="T25" fmla="*/ 0 h 1587"/>
              <a:gd name="T26" fmla="*/ 2147483647 w 2"/>
              <a:gd name="T27" fmla="*/ 0 h 1587"/>
              <a:gd name="T28" fmla="*/ 2147483647 w 2"/>
              <a:gd name="T29" fmla="*/ 0 h 1587"/>
              <a:gd name="T30" fmla="*/ 2147483647 w 2"/>
              <a:gd name="T31" fmla="*/ 0 h 1587"/>
              <a:gd name="T32" fmla="*/ 2147483647 w 2"/>
              <a:gd name="T33" fmla="*/ 0 h 1587"/>
              <a:gd name="T34" fmla="*/ 2147483647 w 2"/>
              <a:gd name="T35" fmla="*/ 0 h 1587"/>
              <a:gd name="T36" fmla="*/ 2147483647 w 2"/>
              <a:gd name="T37" fmla="*/ 0 h 1587"/>
              <a:gd name="T38" fmla="*/ 2147483647 w 2"/>
              <a:gd name="T39" fmla="*/ 0 h 1587"/>
              <a:gd name="T40" fmla="*/ 2147483647 w 2"/>
              <a:gd name="T41" fmla="*/ 0 h 1587"/>
              <a:gd name="T42" fmla="*/ 2147483647 w 2"/>
              <a:gd name="T43" fmla="*/ 0 h 1587"/>
              <a:gd name="T44" fmla="*/ 2147483647 w 2"/>
              <a:gd name="T45" fmla="*/ 0 h 1587"/>
              <a:gd name="T46" fmla="*/ 2147483647 w 2"/>
              <a:gd name="T47" fmla="*/ 0 h 1587"/>
              <a:gd name="T48" fmla="*/ 2147483647 w 2"/>
              <a:gd name="T49" fmla="*/ 0 h 1587"/>
              <a:gd name="T50" fmla="*/ 2147483647 w 2"/>
              <a:gd name="T51" fmla="*/ 0 h 1587"/>
              <a:gd name="T52" fmla="*/ 2147483647 w 2"/>
              <a:gd name="T53" fmla="*/ 0 h 1587"/>
              <a:gd name="T54" fmla="*/ 2147483647 w 2"/>
              <a:gd name="T55" fmla="*/ 0 h 1587"/>
              <a:gd name="T56" fmla="*/ 2147483647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0" name="Rectangle 1256">
            <a:extLst>
              <a:ext uri="{FF2B5EF4-FFF2-40B4-BE49-F238E27FC236}">
                <a16:creationId xmlns:a16="http://schemas.microsoft.com/office/drawing/2014/main" id="{EBCC7CB4-7B4A-4856-8CF9-FE498F15A99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111" name="Freeform 1258">
            <a:extLst>
              <a:ext uri="{FF2B5EF4-FFF2-40B4-BE49-F238E27FC236}">
                <a16:creationId xmlns:a16="http://schemas.microsoft.com/office/drawing/2014/main" id="{BC0D8EC9-402C-458F-9B3D-142AE4A5462E}"/>
              </a:ext>
            </a:extLst>
          </p:cNvPr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2" name="Freeform 1266">
            <a:extLst>
              <a:ext uri="{FF2B5EF4-FFF2-40B4-BE49-F238E27FC236}">
                <a16:creationId xmlns:a16="http://schemas.microsoft.com/office/drawing/2014/main" id="{41D9D3F6-860D-4FB2-AD14-7DC20EA7C6A0}"/>
              </a:ext>
            </a:extLst>
          </p:cNvPr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3" name="Freeform 1269">
            <a:extLst>
              <a:ext uri="{FF2B5EF4-FFF2-40B4-BE49-F238E27FC236}">
                <a16:creationId xmlns:a16="http://schemas.microsoft.com/office/drawing/2014/main" id="{4825CE13-8785-4085-A37B-1D18B8BA2748}"/>
              </a:ext>
            </a:extLst>
          </p:cNvPr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>
              <a:gd name="T0" fmla="*/ 0 w 2"/>
              <a:gd name="T1" fmla="*/ 2147483647 h 3"/>
              <a:gd name="T2" fmla="*/ 2147483647 w 2"/>
              <a:gd name="T3" fmla="*/ 0 h 3"/>
              <a:gd name="T4" fmla="*/ 2147483647 w 2"/>
              <a:gd name="T5" fmla="*/ 0 h 3"/>
              <a:gd name="T6" fmla="*/ 2147483647 w 2"/>
              <a:gd name="T7" fmla="*/ 0 h 3"/>
              <a:gd name="T8" fmla="*/ 2147483647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2147483647 h 3"/>
              <a:gd name="T16" fmla="*/ 0 w 2"/>
              <a:gd name="T17" fmla="*/ 2147483647 h 3"/>
              <a:gd name="T18" fmla="*/ 2147483647 w 2"/>
              <a:gd name="T19" fmla="*/ 0 h 3"/>
              <a:gd name="T20" fmla="*/ 2147483647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2147483647 h 3"/>
              <a:gd name="T40" fmla="*/ 0 w 2"/>
              <a:gd name="T41" fmla="*/ 2147483647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4" name="Line 1270">
            <a:extLst>
              <a:ext uri="{FF2B5EF4-FFF2-40B4-BE49-F238E27FC236}">
                <a16:creationId xmlns:a16="http://schemas.microsoft.com/office/drawing/2014/main" id="{3710C93C-C05D-42DC-A957-7C5DC980D46A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5" name="Line 1271">
            <a:extLst>
              <a:ext uri="{FF2B5EF4-FFF2-40B4-BE49-F238E27FC236}">
                <a16:creationId xmlns:a16="http://schemas.microsoft.com/office/drawing/2014/main" id="{5F993EA7-E2A3-4456-A2E5-B4837BDA5178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6" name="Rectangle 1272">
            <a:extLst>
              <a:ext uri="{FF2B5EF4-FFF2-40B4-BE49-F238E27FC236}">
                <a16:creationId xmlns:a16="http://schemas.microsoft.com/office/drawing/2014/main" id="{74723A15-4FE7-4086-B308-767C163CD9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117" name="Rectangle 1273">
            <a:extLst>
              <a:ext uri="{FF2B5EF4-FFF2-40B4-BE49-F238E27FC236}">
                <a16:creationId xmlns:a16="http://schemas.microsoft.com/office/drawing/2014/main" id="{0A4A6AFC-5CBA-4C34-9450-909706E848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118" name="Line 1274">
            <a:extLst>
              <a:ext uri="{FF2B5EF4-FFF2-40B4-BE49-F238E27FC236}">
                <a16:creationId xmlns:a16="http://schemas.microsoft.com/office/drawing/2014/main" id="{64A1271F-83F9-4E1A-B484-388153E8B2A4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9" name="Line 1275">
            <a:extLst>
              <a:ext uri="{FF2B5EF4-FFF2-40B4-BE49-F238E27FC236}">
                <a16:creationId xmlns:a16="http://schemas.microsoft.com/office/drawing/2014/main" id="{34F67DE2-D81A-442F-8284-478EE3AFB69F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0" name="Freeform 1277">
            <a:extLst>
              <a:ext uri="{FF2B5EF4-FFF2-40B4-BE49-F238E27FC236}">
                <a16:creationId xmlns:a16="http://schemas.microsoft.com/office/drawing/2014/main" id="{50BCEB9C-9ADE-4FB4-84D2-D43E3CA020D0}"/>
              </a:ext>
            </a:extLst>
          </p:cNvPr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>
              <a:gd name="T0" fmla="*/ 0 w 1587"/>
              <a:gd name="T1" fmla="*/ 2147483647 h 2"/>
              <a:gd name="T2" fmla="*/ 0 w 1587"/>
              <a:gd name="T3" fmla="*/ 2147483647 h 2"/>
              <a:gd name="T4" fmla="*/ 0 w 1587"/>
              <a:gd name="T5" fmla="*/ 0 h 2"/>
              <a:gd name="T6" fmla="*/ 0 w 1587"/>
              <a:gd name="T7" fmla="*/ 2147483647 h 2"/>
              <a:gd name="T8" fmla="*/ 0 w 1587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1" name="Freeform 1287">
            <a:extLst>
              <a:ext uri="{FF2B5EF4-FFF2-40B4-BE49-F238E27FC236}">
                <a16:creationId xmlns:a16="http://schemas.microsoft.com/office/drawing/2014/main" id="{0C01A04C-46E3-4CA9-B136-3AD4C8526B34}"/>
              </a:ext>
            </a:extLst>
          </p:cNvPr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2147483647 h 2"/>
              <a:gd name="T4" fmla="*/ 2147483647 w 2"/>
              <a:gd name="T5" fmla="*/ 2147483647 h 2"/>
              <a:gd name="T6" fmla="*/ 2147483647 w 2"/>
              <a:gd name="T7" fmla="*/ 2147483647 h 2"/>
              <a:gd name="T8" fmla="*/ 2147483647 w 2"/>
              <a:gd name="T9" fmla="*/ 2147483647 h 2"/>
              <a:gd name="T10" fmla="*/ 2147483647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2147483647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2147483647 w 2"/>
              <a:gd name="T25" fmla="*/ 2147483647 h 2"/>
              <a:gd name="T26" fmla="*/ 2147483647 w 2"/>
              <a:gd name="T27" fmla="*/ 2147483647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2" name="Freeform 1290">
            <a:extLst>
              <a:ext uri="{FF2B5EF4-FFF2-40B4-BE49-F238E27FC236}">
                <a16:creationId xmlns:a16="http://schemas.microsoft.com/office/drawing/2014/main" id="{B8A5F8A8-B194-45B0-A9E8-70AE0481A9A6}"/>
              </a:ext>
            </a:extLst>
          </p:cNvPr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2147483647 h 2"/>
              <a:gd name="T6" fmla="*/ 2147483647 w 2"/>
              <a:gd name="T7" fmla="*/ 2147483647 h 2"/>
              <a:gd name="T8" fmla="*/ 2147483647 w 2"/>
              <a:gd name="T9" fmla="*/ 2147483647 h 2"/>
              <a:gd name="T10" fmla="*/ 2147483647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2147483647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2147483647 h 2"/>
              <a:gd name="T50" fmla="*/ 2147483647 w 2"/>
              <a:gd name="T51" fmla="*/ 2147483647 h 2"/>
              <a:gd name="T52" fmla="*/ 2147483647 w 2"/>
              <a:gd name="T53" fmla="*/ 0 h 2"/>
              <a:gd name="T54" fmla="*/ 2147483647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2147483647 h 2"/>
              <a:gd name="T62" fmla="*/ 0 w 2"/>
              <a:gd name="T63" fmla="*/ 2147483647 h 2"/>
              <a:gd name="T64" fmla="*/ 2147483647 w 2"/>
              <a:gd name="T65" fmla="*/ 2147483647 h 2"/>
              <a:gd name="T66" fmla="*/ 2147483647 w 2"/>
              <a:gd name="T67" fmla="*/ 2147483647 h 2"/>
              <a:gd name="T68" fmla="*/ 0 w 2"/>
              <a:gd name="T69" fmla="*/ 2147483647 h 2"/>
              <a:gd name="T70" fmla="*/ 0 w 2"/>
              <a:gd name="T71" fmla="*/ 2147483647 h 2"/>
              <a:gd name="T72" fmla="*/ 0 w 2"/>
              <a:gd name="T73" fmla="*/ 2147483647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3" name="Rectangle 1335">
            <a:extLst>
              <a:ext uri="{FF2B5EF4-FFF2-40B4-BE49-F238E27FC236}">
                <a16:creationId xmlns:a16="http://schemas.microsoft.com/office/drawing/2014/main" id="{3BA78006-D01A-4B17-A59B-8F3C2DDDD0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124" name="Rectangle 1336">
            <a:extLst>
              <a:ext uri="{FF2B5EF4-FFF2-40B4-BE49-F238E27FC236}">
                <a16:creationId xmlns:a16="http://schemas.microsoft.com/office/drawing/2014/main" id="{B5EDB39B-F85C-48BF-8518-92590913DB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125" name="Rectangle 1337">
            <a:extLst>
              <a:ext uri="{FF2B5EF4-FFF2-40B4-BE49-F238E27FC236}">
                <a16:creationId xmlns:a16="http://schemas.microsoft.com/office/drawing/2014/main" id="{AEB793CE-F646-4BF6-9D40-7E63462D2D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126" name="Rectangle 1340">
            <a:extLst>
              <a:ext uri="{FF2B5EF4-FFF2-40B4-BE49-F238E27FC236}">
                <a16:creationId xmlns:a16="http://schemas.microsoft.com/office/drawing/2014/main" id="{E9311476-55AD-4B7F-B714-0A70788B19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127" name="Rectangle 1341">
            <a:extLst>
              <a:ext uri="{FF2B5EF4-FFF2-40B4-BE49-F238E27FC236}">
                <a16:creationId xmlns:a16="http://schemas.microsoft.com/office/drawing/2014/main" id="{DCA3F208-A0E6-4ED7-8927-D46B7558AD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128" name="Rectangle 1342">
            <a:extLst>
              <a:ext uri="{FF2B5EF4-FFF2-40B4-BE49-F238E27FC236}">
                <a16:creationId xmlns:a16="http://schemas.microsoft.com/office/drawing/2014/main" id="{8F556CCB-ED3C-426A-9751-06CB55FF5D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129" name="Rectangle 1343">
            <a:extLst>
              <a:ext uri="{FF2B5EF4-FFF2-40B4-BE49-F238E27FC236}">
                <a16:creationId xmlns:a16="http://schemas.microsoft.com/office/drawing/2014/main" id="{6C9DAFE8-FADA-4582-8642-15181C5AF0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130" name="Rectangle 1344">
            <a:extLst>
              <a:ext uri="{FF2B5EF4-FFF2-40B4-BE49-F238E27FC236}">
                <a16:creationId xmlns:a16="http://schemas.microsoft.com/office/drawing/2014/main" id="{DA308D48-9CCF-454E-9A08-7E466A9386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170" name="ClipArt Placeholder 9"/>
          <p:cNvSpPr>
            <a:spLocks noGrp="1"/>
          </p:cNvSpPr>
          <p:nvPr>
            <p:ph type="clipArt" sz="quarter" idx="49"/>
          </p:nvPr>
        </p:nvSpPr>
        <p:spPr>
          <a:xfrm>
            <a:off x="341834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</a:p>
        </p:txBody>
      </p:sp>
      <p:sp>
        <p:nvSpPr>
          <p:cNvPr id="177" name="ClipArt Placeholder 9"/>
          <p:cNvSpPr>
            <a:spLocks noGrp="1"/>
          </p:cNvSpPr>
          <p:nvPr>
            <p:ph type="clipArt" sz="quarter" idx="56"/>
          </p:nvPr>
        </p:nvSpPr>
        <p:spPr>
          <a:xfrm>
            <a:off x="2093047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</a:p>
        </p:txBody>
      </p:sp>
      <p:sp>
        <p:nvSpPr>
          <p:cNvPr id="184" name="ClipArt Placeholder 9"/>
          <p:cNvSpPr>
            <a:spLocks noGrp="1"/>
          </p:cNvSpPr>
          <p:nvPr>
            <p:ph type="clipArt" sz="quarter" idx="63"/>
          </p:nvPr>
        </p:nvSpPr>
        <p:spPr>
          <a:xfrm>
            <a:off x="3844259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</a:p>
        </p:txBody>
      </p:sp>
      <p:sp>
        <p:nvSpPr>
          <p:cNvPr id="191" name="ClipArt Placeholder 9"/>
          <p:cNvSpPr>
            <a:spLocks noGrp="1"/>
          </p:cNvSpPr>
          <p:nvPr>
            <p:ph type="clipArt" sz="quarter" idx="70"/>
          </p:nvPr>
        </p:nvSpPr>
        <p:spPr>
          <a:xfrm>
            <a:off x="5595471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</a:p>
        </p:txBody>
      </p:sp>
      <p:sp>
        <p:nvSpPr>
          <p:cNvPr id="198" name="ClipArt Placeholder 9"/>
          <p:cNvSpPr>
            <a:spLocks noGrp="1"/>
          </p:cNvSpPr>
          <p:nvPr>
            <p:ph type="clipArt" sz="quarter" idx="77"/>
          </p:nvPr>
        </p:nvSpPr>
        <p:spPr>
          <a:xfrm>
            <a:off x="7346684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</a:p>
        </p:txBody>
      </p:sp>
      <p:sp>
        <p:nvSpPr>
          <p:cNvPr id="324" name="Title 323"/>
          <p:cNvSpPr>
            <a:spLocks noGrp="1"/>
          </p:cNvSpPr>
          <p:nvPr>
            <p:ph type="title"/>
          </p:nvPr>
        </p:nvSpPr>
        <p:spPr>
          <a:xfrm>
            <a:off x="343401" y="301625"/>
            <a:ext cx="8439652" cy="668193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1" name="Text Placeholder 2"/>
          <p:cNvSpPr>
            <a:spLocks noGrp="1"/>
          </p:cNvSpPr>
          <p:nvPr>
            <p:ph type="body" sz="quarter" idx="50"/>
          </p:nvPr>
        </p:nvSpPr>
        <p:spPr>
          <a:xfrm>
            <a:off x="603491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2" name="Picture Placeholder 4"/>
          <p:cNvSpPr>
            <a:spLocks noGrp="1"/>
          </p:cNvSpPr>
          <p:nvPr>
            <p:ph type="pic" sz="quarter" idx="51"/>
          </p:nvPr>
        </p:nvSpPr>
        <p:spPr>
          <a:xfrm>
            <a:off x="476491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173" name="Text Placeholder 2"/>
          <p:cNvSpPr>
            <a:spLocks noGrp="1"/>
          </p:cNvSpPr>
          <p:nvPr>
            <p:ph type="body" sz="quarter" idx="52"/>
          </p:nvPr>
        </p:nvSpPr>
        <p:spPr>
          <a:xfrm>
            <a:off x="465099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4" name="Text Placeholder 2"/>
          <p:cNvSpPr>
            <a:spLocks noGrp="1"/>
          </p:cNvSpPr>
          <p:nvPr>
            <p:ph type="body" sz="quarter" idx="53"/>
          </p:nvPr>
        </p:nvSpPr>
        <p:spPr>
          <a:xfrm>
            <a:off x="465099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5" name="Text Placeholder 2"/>
          <p:cNvSpPr>
            <a:spLocks noGrp="1"/>
          </p:cNvSpPr>
          <p:nvPr>
            <p:ph type="body" sz="quarter" idx="54"/>
          </p:nvPr>
        </p:nvSpPr>
        <p:spPr>
          <a:xfrm>
            <a:off x="465099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6" name="Text Placeholder 2"/>
          <p:cNvSpPr>
            <a:spLocks noGrp="1"/>
          </p:cNvSpPr>
          <p:nvPr>
            <p:ph type="body" sz="quarter" idx="55"/>
          </p:nvPr>
        </p:nvSpPr>
        <p:spPr>
          <a:xfrm>
            <a:off x="465099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8" name="Text Placeholder 2"/>
          <p:cNvSpPr>
            <a:spLocks noGrp="1"/>
          </p:cNvSpPr>
          <p:nvPr>
            <p:ph type="body" sz="quarter" idx="57"/>
          </p:nvPr>
        </p:nvSpPr>
        <p:spPr>
          <a:xfrm>
            <a:off x="2321508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9" name="Picture Placeholder 4"/>
          <p:cNvSpPr>
            <a:spLocks noGrp="1"/>
          </p:cNvSpPr>
          <p:nvPr>
            <p:ph type="pic" sz="quarter" idx="58"/>
          </p:nvPr>
        </p:nvSpPr>
        <p:spPr>
          <a:xfrm>
            <a:off x="2194508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180" name="Text Placeholder 2"/>
          <p:cNvSpPr>
            <a:spLocks noGrp="1"/>
          </p:cNvSpPr>
          <p:nvPr>
            <p:ph type="body" sz="quarter" idx="59"/>
          </p:nvPr>
        </p:nvSpPr>
        <p:spPr>
          <a:xfrm>
            <a:off x="2183116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1" name="Text Placeholder 2"/>
          <p:cNvSpPr>
            <a:spLocks noGrp="1"/>
          </p:cNvSpPr>
          <p:nvPr>
            <p:ph type="body" sz="quarter" idx="60"/>
          </p:nvPr>
        </p:nvSpPr>
        <p:spPr>
          <a:xfrm>
            <a:off x="2183116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2" name="Text Placeholder 2"/>
          <p:cNvSpPr>
            <a:spLocks noGrp="1"/>
          </p:cNvSpPr>
          <p:nvPr>
            <p:ph type="body" sz="quarter" idx="61"/>
          </p:nvPr>
        </p:nvSpPr>
        <p:spPr>
          <a:xfrm>
            <a:off x="2183116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3" name="Text Placeholder 2"/>
          <p:cNvSpPr>
            <a:spLocks noGrp="1"/>
          </p:cNvSpPr>
          <p:nvPr>
            <p:ph type="body" sz="quarter" idx="62"/>
          </p:nvPr>
        </p:nvSpPr>
        <p:spPr>
          <a:xfrm>
            <a:off x="2183116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5" name="Text Placeholder 2"/>
          <p:cNvSpPr>
            <a:spLocks noGrp="1"/>
          </p:cNvSpPr>
          <p:nvPr>
            <p:ph type="body" sz="quarter" idx="64"/>
          </p:nvPr>
        </p:nvSpPr>
        <p:spPr>
          <a:xfrm>
            <a:off x="4101439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6" name="Picture Placeholder 4"/>
          <p:cNvSpPr>
            <a:spLocks noGrp="1"/>
          </p:cNvSpPr>
          <p:nvPr>
            <p:ph type="pic" sz="quarter" idx="65"/>
          </p:nvPr>
        </p:nvSpPr>
        <p:spPr>
          <a:xfrm>
            <a:off x="3974439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187" name="Text Placeholder 2"/>
          <p:cNvSpPr>
            <a:spLocks noGrp="1"/>
          </p:cNvSpPr>
          <p:nvPr>
            <p:ph type="body" sz="quarter" idx="66"/>
          </p:nvPr>
        </p:nvSpPr>
        <p:spPr>
          <a:xfrm>
            <a:off x="3963047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8" name="Text Placeholder 2"/>
          <p:cNvSpPr>
            <a:spLocks noGrp="1"/>
          </p:cNvSpPr>
          <p:nvPr>
            <p:ph type="body" sz="quarter" idx="67"/>
          </p:nvPr>
        </p:nvSpPr>
        <p:spPr>
          <a:xfrm>
            <a:off x="3963047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9" name="Text Placeholder 2"/>
          <p:cNvSpPr>
            <a:spLocks noGrp="1"/>
          </p:cNvSpPr>
          <p:nvPr>
            <p:ph type="body" sz="quarter" idx="68"/>
          </p:nvPr>
        </p:nvSpPr>
        <p:spPr>
          <a:xfrm>
            <a:off x="3963047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0" name="Text Placeholder 2"/>
          <p:cNvSpPr>
            <a:spLocks noGrp="1"/>
          </p:cNvSpPr>
          <p:nvPr>
            <p:ph type="body" sz="quarter" idx="69"/>
          </p:nvPr>
        </p:nvSpPr>
        <p:spPr>
          <a:xfrm>
            <a:off x="3963047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2" name="Text Placeholder 2"/>
          <p:cNvSpPr>
            <a:spLocks noGrp="1"/>
          </p:cNvSpPr>
          <p:nvPr>
            <p:ph type="body" sz="quarter" idx="71"/>
          </p:nvPr>
        </p:nvSpPr>
        <p:spPr>
          <a:xfrm>
            <a:off x="5863108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3" name="Picture Placeholder 4"/>
          <p:cNvSpPr>
            <a:spLocks noGrp="1"/>
          </p:cNvSpPr>
          <p:nvPr>
            <p:ph type="pic" sz="quarter" idx="72"/>
          </p:nvPr>
        </p:nvSpPr>
        <p:spPr>
          <a:xfrm>
            <a:off x="5736108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194" name="Text Placeholder 2"/>
          <p:cNvSpPr>
            <a:spLocks noGrp="1"/>
          </p:cNvSpPr>
          <p:nvPr>
            <p:ph type="body" sz="quarter" idx="73"/>
          </p:nvPr>
        </p:nvSpPr>
        <p:spPr>
          <a:xfrm>
            <a:off x="5724716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5" name="Text Placeholder 2"/>
          <p:cNvSpPr>
            <a:spLocks noGrp="1"/>
          </p:cNvSpPr>
          <p:nvPr>
            <p:ph type="body" sz="quarter" idx="74"/>
          </p:nvPr>
        </p:nvSpPr>
        <p:spPr>
          <a:xfrm>
            <a:off x="5724716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6" name="Text Placeholder 2"/>
          <p:cNvSpPr>
            <a:spLocks noGrp="1"/>
          </p:cNvSpPr>
          <p:nvPr>
            <p:ph type="body" sz="quarter" idx="75"/>
          </p:nvPr>
        </p:nvSpPr>
        <p:spPr>
          <a:xfrm>
            <a:off x="5724716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7" name="Text Placeholder 2"/>
          <p:cNvSpPr>
            <a:spLocks noGrp="1"/>
          </p:cNvSpPr>
          <p:nvPr>
            <p:ph type="body" sz="quarter" idx="76"/>
          </p:nvPr>
        </p:nvSpPr>
        <p:spPr>
          <a:xfrm>
            <a:off x="5724716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9" name="Text Placeholder 2"/>
          <p:cNvSpPr>
            <a:spLocks noGrp="1"/>
          </p:cNvSpPr>
          <p:nvPr>
            <p:ph type="body" sz="quarter" idx="78"/>
          </p:nvPr>
        </p:nvSpPr>
        <p:spPr>
          <a:xfrm>
            <a:off x="7636461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0" name="Picture Placeholder 4"/>
          <p:cNvSpPr>
            <a:spLocks noGrp="1"/>
          </p:cNvSpPr>
          <p:nvPr>
            <p:ph type="pic" sz="quarter" idx="79"/>
          </p:nvPr>
        </p:nvSpPr>
        <p:spPr>
          <a:xfrm>
            <a:off x="7509461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201" name="Text Placeholder 2"/>
          <p:cNvSpPr>
            <a:spLocks noGrp="1"/>
          </p:cNvSpPr>
          <p:nvPr>
            <p:ph type="body" sz="quarter" idx="80"/>
          </p:nvPr>
        </p:nvSpPr>
        <p:spPr>
          <a:xfrm>
            <a:off x="7498069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2" name="Text Placeholder 2"/>
          <p:cNvSpPr>
            <a:spLocks noGrp="1"/>
          </p:cNvSpPr>
          <p:nvPr>
            <p:ph type="body" sz="quarter" idx="81"/>
          </p:nvPr>
        </p:nvSpPr>
        <p:spPr>
          <a:xfrm>
            <a:off x="7498069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3" name="Text Placeholder 2"/>
          <p:cNvSpPr>
            <a:spLocks noGrp="1"/>
          </p:cNvSpPr>
          <p:nvPr>
            <p:ph type="body" sz="quarter" idx="82"/>
          </p:nvPr>
        </p:nvSpPr>
        <p:spPr>
          <a:xfrm>
            <a:off x="7498069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4" name="Text Placeholder 2"/>
          <p:cNvSpPr>
            <a:spLocks noGrp="1"/>
          </p:cNvSpPr>
          <p:nvPr>
            <p:ph type="body" sz="quarter" idx="83"/>
          </p:nvPr>
        </p:nvSpPr>
        <p:spPr>
          <a:xfrm>
            <a:off x="7498069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5" name="ClipArt Placeholder 9"/>
          <p:cNvSpPr>
            <a:spLocks noGrp="1"/>
          </p:cNvSpPr>
          <p:nvPr>
            <p:ph type="clipArt" sz="quarter" idx="84"/>
          </p:nvPr>
        </p:nvSpPr>
        <p:spPr>
          <a:xfrm>
            <a:off x="349091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</a:p>
        </p:txBody>
      </p:sp>
      <p:sp>
        <p:nvSpPr>
          <p:cNvPr id="206" name="ClipArt Placeholder 9"/>
          <p:cNvSpPr>
            <a:spLocks noGrp="1"/>
          </p:cNvSpPr>
          <p:nvPr>
            <p:ph type="clipArt" sz="quarter" idx="85"/>
          </p:nvPr>
        </p:nvSpPr>
        <p:spPr>
          <a:xfrm>
            <a:off x="2100304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</a:p>
        </p:txBody>
      </p:sp>
      <p:sp>
        <p:nvSpPr>
          <p:cNvPr id="207" name="ClipArt Placeholder 9"/>
          <p:cNvSpPr>
            <a:spLocks noGrp="1"/>
          </p:cNvSpPr>
          <p:nvPr>
            <p:ph type="clipArt" sz="quarter" idx="86"/>
          </p:nvPr>
        </p:nvSpPr>
        <p:spPr>
          <a:xfrm>
            <a:off x="3851516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</a:p>
        </p:txBody>
      </p:sp>
      <p:sp>
        <p:nvSpPr>
          <p:cNvPr id="208" name="ClipArt Placeholder 9"/>
          <p:cNvSpPr>
            <a:spLocks noGrp="1"/>
          </p:cNvSpPr>
          <p:nvPr>
            <p:ph type="clipArt" sz="quarter" idx="87"/>
          </p:nvPr>
        </p:nvSpPr>
        <p:spPr>
          <a:xfrm>
            <a:off x="5602728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</a:p>
        </p:txBody>
      </p:sp>
      <p:sp>
        <p:nvSpPr>
          <p:cNvPr id="209" name="ClipArt Placeholder 9"/>
          <p:cNvSpPr>
            <a:spLocks noGrp="1"/>
          </p:cNvSpPr>
          <p:nvPr>
            <p:ph type="clipArt" sz="quarter" idx="88"/>
          </p:nvPr>
        </p:nvSpPr>
        <p:spPr>
          <a:xfrm>
            <a:off x="7353941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</a:p>
        </p:txBody>
      </p:sp>
      <p:sp>
        <p:nvSpPr>
          <p:cNvPr id="210" name="Text Placeholder 2"/>
          <p:cNvSpPr>
            <a:spLocks noGrp="1"/>
          </p:cNvSpPr>
          <p:nvPr>
            <p:ph type="body" sz="quarter" idx="89"/>
          </p:nvPr>
        </p:nvSpPr>
        <p:spPr>
          <a:xfrm>
            <a:off x="610748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1" name="Picture Placeholder 4"/>
          <p:cNvSpPr>
            <a:spLocks noGrp="1"/>
          </p:cNvSpPr>
          <p:nvPr>
            <p:ph type="pic" sz="quarter" idx="90"/>
          </p:nvPr>
        </p:nvSpPr>
        <p:spPr>
          <a:xfrm>
            <a:off x="483748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212" name="Text Placeholder 2"/>
          <p:cNvSpPr>
            <a:spLocks noGrp="1"/>
          </p:cNvSpPr>
          <p:nvPr>
            <p:ph type="body" sz="quarter" idx="91"/>
          </p:nvPr>
        </p:nvSpPr>
        <p:spPr>
          <a:xfrm>
            <a:off x="472356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3" name="Text Placeholder 2"/>
          <p:cNvSpPr>
            <a:spLocks noGrp="1"/>
          </p:cNvSpPr>
          <p:nvPr>
            <p:ph type="body" sz="quarter" idx="92"/>
          </p:nvPr>
        </p:nvSpPr>
        <p:spPr>
          <a:xfrm>
            <a:off x="472356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4" name="Text Placeholder 2"/>
          <p:cNvSpPr>
            <a:spLocks noGrp="1"/>
          </p:cNvSpPr>
          <p:nvPr>
            <p:ph type="body" sz="quarter" idx="93"/>
          </p:nvPr>
        </p:nvSpPr>
        <p:spPr>
          <a:xfrm>
            <a:off x="472356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5" name="Text Placeholder 2"/>
          <p:cNvSpPr>
            <a:spLocks noGrp="1"/>
          </p:cNvSpPr>
          <p:nvPr>
            <p:ph type="body" sz="quarter" idx="94"/>
          </p:nvPr>
        </p:nvSpPr>
        <p:spPr>
          <a:xfrm>
            <a:off x="472356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6" name="Text Placeholder 2"/>
          <p:cNvSpPr>
            <a:spLocks noGrp="1"/>
          </p:cNvSpPr>
          <p:nvPr>
            <p:ph type="body" sz="quarter" idx="95"/>
          </p:nvPr>
        </p:nvSpPr>
        <p:spPr>
          <a:xfrm>
            <a:off x="2328765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7" name="Picture Placeholder 4"/>
          <p:cNvSpPr>
            <a:spLocks noGrp="1"/>
          </p:cNvSpPr>
          <p:nvPr>
            <p:ph type="pic" sz="quarter" idx="96"/>
          </p:nvPr>
        </p:nvSpPr>
        <p:spPr>
          <a:xfrm>
            <a:off x="2201765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218" name="Text Placeholder 2"/>
          <p:cNvSpPr>
            <a:spLocks noGrp="1"/>
          </p:cNvSpPr>
          <p:nvPr>
            <p:ph type="body" sz="quarter" idx="97"/>
          </p:nvPr>
        </p:nvSpPr>
        <p:spPr>
          <a:xfrm>
            <a:off x="2190373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9" name="Text Placeholder 2"/>
          <p:cNvSpPr>
            <a:spLocks noGrp="1"/>
          </p:cNvSpPr>
          <p:nvPr>
            <p:ph type="body" sz="quarter" idx="98"/>
          </p:nvPr>
        </p:nvSpPr>
        <p:spPr>
          <a:xfrm>
            <a:off x="2190373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0" name="Text Placeholder 2"/>
          <p:cNvSpPr>
            <a:spLocks noGrp="1"/>
          </p:cNvSpPr>
          <p:nvPr>
            <p:ph type="body" sz="quarter" idx="99"/>
          </p:nvPr>
        </p:nvSpPr>
        <p:spPr>
          <a:xfrm>
            <a:off x="2190373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1" name="Text Placeholder 2"/>
          <p:cNvSpPr>
            <a:spLocks noGrp="1"/>
          </p:cNvSpPr>
          <p:nvPr>
            <p:ph type="body" sz="quarter" idx="100"/>
          </p:nvPr>
        </p:nvSpPr>
        <p:spPr>
          <a:xfrm>
            <a:off x="2190373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2" name="Text Placeholder 2"/>
          <p:cNvSpPr>
            <a:spLocks noGrp="1"/>
          </p:cNvSpPr>
          <p:nvPr>
            <p:ph type="body" sz="quarter" idx="101"/>
          </p:nvPr>
        </p:nvSpPr>
        <p:spPr>
          <a:xfrm>
            <a:off x="4108696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3" name="Picture Placeholder 4"/>
          <p:cNvSpPr>
            <a:spLocks noGrp="1"/>
          </p:cNvSpPr>
          <p:nvPr>
            <p:ph type="pic" sz="quarter" idx="102"/>
          </p:nvPr>
        </p:nvSpPr>
        <p:spPr>
          <a:xfrm>
            <a:off x="3981696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224" name="Text Placeholder 2"/>
          <p:cNvSpPr>
            <a:spLocks noGrp="1"/>
          </p:cNvSpPr>
          <p:nvPr>
            <p:ph type="body" sz="quarter" idx="103"/>
          </p:nvPr>
        </p:nvSpPr>
        <p:spPr>
          <a:xfrm>
            <a:off x="3970304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5" name="Text Placeholder 2"/>
          <p:cNvSpPr>
            <a:spLocks noGrp="1"/>
          </p:cNvSpPr>
          <p:nvPr>
            <p:ph type="body" sz="quarter" idx="104"/>
          </p:nvPr>
        </p:nvSpPr>
        <p:spPr>
          <a:xfrm>
            <a:off x="3970304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6" name="Text Placeholder 2"/>
          <p:cNvSpPr>
            <a:spLocks noGrp="1"/>
          </p:cNvSpPr>
          <p:nvPr>
            <p:ph type="body" sz="quarter" idx="105"/>
          </p:nvPr>
        </p:nvSpPr>
        <p:spPr>
          <a:xfrm>
            <a:off x="3970304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7" name="Text Placeholder 2"/>
          <p:cNvSpPr>
            <a:spLocks noGrp="1"/>
          </p:cNvSpPr>
          <p:nvPr>
            <p:ph type="body" sz="quarter" idx="106"/>
          </p:nvPr>
        </p:nvSpPr>
        <p:spPr>
          <a:xfrm>
            <a:off x="3970304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8" name="Text Placeholder 2"/>
          <p:cNvSpPr>
            <a:spLocks noGrp="1"/>
          </p:cNvSpPr>
          <p:nvPr>
            <p:ph type="body" sz="quarter" idx="107"/>
          </p:nvPr>
        </p:nvSpPr>
        <p:spPr>
          <a:xfrm>
            <a:off x="5870365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9" name="Picture Placeholder 4"/>
          <p:cNvSpPr>
            <a:spLocks noGrp="1"/>
          </p:cNvSpPr>
          <p:nvPr>
            <p:ph type="pic" sz="quarter" idx="108"/>
          </p:nvPr>
        </p:nvSpPr>
        <p:spPr>
          <a:xfrm>
            <a:off x="5743365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230" name="Text Placeholder 2"/>
          <p:cNvSpPr>
            <a:spLocks noGrp="1"/>
          </p:cNvSpPr>
          <p:nvPr>
            <p:ph type="body" sz="quarter" idx="109"/>
          </p:nvPr>
        </p:nvSpPr>
        <p:spPr>
          <a:xfrm>
            <a:off x="5731973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1" name="Text Placeholder 2"/>
          <p:cNvSpPr>
            <a:spLocks noGrp="1"/>
          </p:cNvSpPr>
          <p:nvPr>
            <p:ph type="body" sz="quarter" idx="110"/>
          </p:nvPr>
        </p:nvSpPr>
        <p:spPr>
          <a:xfrm>
            <a:off x="5731973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2" name="Text Placeholder 2"/>
          <p:cNvSpPr>
            <a:spLocks noGrp="1"/>
          </p:cNvSpPr>
          <p:nvPr>
            <p:ph type="body" sz="quarter" idx="111"/>
          </p:nvPr>
        </p:nvSpPr>
        <p:spPr>
          <a:xfrm>
            <a:off x="5731973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3" name="Text Placeholder 2"/>
          <p:cNvSpPr>
            <a:spLocks noGrp="1"/>
          </p:cNvSpPr>
          <p:nvPr>
            <p:ph type="body" sz="quarter" idx="112"/>
          </p:nvPr>
        </p:nvSpPr>
        <p:spPr>
          <a:xfrm>
            <a:off x="5731973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4" name="Text Placeholder 2"/>
          <p:cNvSpPr>
            <a:spLocks noGrp="1"/>
          </p:cNvSpPr>
          <p:nvPr>
            <p:ph type="body" sz="quarter" idx="113"/>
          </p:nvPr>
        </p:nvSpPr>
        <p:spPr>
          <a:xfrm>
            <a:off x="7643718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5" name="Picture Placeholder 4"/>
          <p:cNvSpPr>
            <a:spLocks noGrp="1"/>
          </p:cNvSpPr>
          <p:nvPr>
            <p:ph type="pic" sz="quarter" idx="114"/>
          </p:nvPr>
        </p:nvSpPr>
        <p:spPr>
          <a:xfrm>
            <a:off x="7516718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236" name="Text Placeholder 2"/>
          <p:cNvSpPr>
            <a:spLocks noGrp="1"/>
          </p:cNvSpPr>
          <p:nvPr>
            <p:ph type="body" sz="quarter" idx="115"/>
          </p:nvPr>
        </p:nvSpPr>
        <p:spPr>
          <a:xfrm>
            <a:off x="7505326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7" name="Text Placeholder 2"/>
          <p:cNvSpPr>
            <a:spLocks noGrp="1"/>
          </p:cNvSpPr>
          <p:nvPr>
            <p:ph type="body" sz="quarter" idx="116"/>
          </p:nvPr>
        </p:nvSpPr>
        <p:spPr>
          <a:xfrm>
            <a:off x="7505326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8" name="Text Placeholder 2"/>
          <p:cNvSpPr>
            <a:spLocks noGrp="1"/>
          </p:cNvSpPr>
          <p:nvPr>
            <p:ph type="body" sz="quarter" idx="117"/>
          </p:nvPr>
        </p:nvSpPr>
        <p:spPr>
          <a:xfrm>
            <a:off x="7505326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9" name="Text Placeholder 2"/>
          <p:cNvSpPr>
            <a:spLocks noGrp="1"/>
          </p:cNvSpPr>
          <p:nvPr>
            <p:ph type="body" sz="quarter" idx="118"/>
          </p:nvPr>
        </p:nvSpPr>
        <p:spPr>
          <a:xfrm>
            <a:off x="7505326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1" name="Footer Placeholder 1">
            <a:extLst>
              <a:ext uri="{FF2B5EF4-FFF2-40B4-BE49-F238E27FC236}">
                <a16:creationId xmlns:a16="http://schemas.microsoft.com/office/drawing/2014/main" id="{2F36408E-D97D-41AB-9217-63C225FBC9D3}"/>
              </a:ext>
            </a:extLst>
          </p:cNvPr>
          <p:cNvSpPr>
            <a:spLocks noGrp="1"/>
          </p:cNvSpPr>
          <p:nvPr>
            <p:ph type="ftr" sz="quarter" idx="1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  <p:sp>
        <p:nvSpPr>
          <p:cNvPr id="132" name="Slide Number Placeholder 2">
            <a:extLst>
              <a:ext uri="{FF2B5EF4-FFF2-40B4-BE49-F238E27FC236}">
                <a16:creationId xmlns:a16="http://schemas.microsoft.com/office/drawing/2014/main" id="{DCC0DD18-CEEC-4D1A-A60A-80A20D2AF5F5}"/>
              </a:ext>
            </a:extLst>
          </p:cNvPr>
          <p:cNvSpPr>
            <a:spLocks noGrp="1"/>
          </p:cNvSpPr>
          <p:nvPr>
            <p:ph type="sldNum" sz="quarter" idx="120"/>
          </p:nvPr>
        </p:nvSpPr>
        <p:spPr/>
        <p:txBody>
          <a:bodyPr/>
          <a:lstStyle>
            <a:lvl1pPr>
              <a:defRPr/>
            </a:lvl1pPr>
          </a:lstStyle>
          <a:p>
            <a:fld id="{F4597838-7728-4AAF-87E8-5D0F245AC806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640306923"/>
      </p:ext>
    </p:extLst>
  </p:cSld>
  <p:clrMapOvr>
    <a:masterClrMapping/>
  </p:clrMapOvr>
  <p:hf hd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6136106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946316" y="4064001"/>
            <a:ext cx="3978929" cy="1751263"/>
          </a:xfrm>
        </p:spPr>
        <p:txBody>
          <a:bodyPr/>
          <a:lstStyle>
            <a:lvl1pPr>
              <a:defRPr sz="3000" b="0" i="0">
                <a:solidFill>
                  <a:schemeClr val="tx1"/>
                </a:solidFill>
                <a:effectLst/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0F8493E4-083F-452C-9089-53AE8FCAD7D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1274C3FF-4EC0-4CAD-A709-87FACD9BBF64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01EC90E8-E6A1-4A45-921A-67BA2F740C3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563043116"/>
      </p:ext>
    </p:extLst>
  </p:cSld>
  <p:clrMapOvr>
    <a:masterClrMapping/>
  </p:clrMapOvr>
  <p:hf hd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777C7912-EB96-401D-AF7F-DBB229E34E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46513" y="5302250"/>
            <a:ext cx="5297487" cy="155575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6858000"/>
          </a:xfrm>
        </p:spPr>
        <p:txBody>
          <a:bodyPr/>
          <a:lstStyle>
            <a:lvl1pPr algn="ctr">
              <a:defRPr baseline="0"/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946316" y="3075216"/>
            <a:ext cx="3978929" cy="1950356"/>
          </a:xfrm>
        </p:spPr>
        <p:txBody>
          <a:bodyPr/>
          <a:lstStyle>
            <a:lvl1pPr>
              <a:defRPr sz="3000" b="0" i="0" baseline="0">
                <a:solidFill>
                  <a:schemeClr val="tx1"/>
                </a:solidFill>
                <a:effectLst/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98753849"/>
      </p:ext>
    </p:extLst>
  </p:cSld>
  <p:clrMapOvr>
    <a:masterClrMapping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349250" y="1132417"/>
            <a:ext cx="8445500" cy="5069416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604D2B3-5AE4-41BB-81A6-0FD43267284A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fld id="{36D094C0-0CCA-443B-92F0-214D25609459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DDFE140B-D48C-4542-AB7E-EC12FA7CAB7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1937485406"/>
      </p:ext>
    </p:extLst>
  </p:cSld>
  <p:clrMapOvr>
    <a:masterClrMapping/>
  </p:clrMapOvr>
  <p:hf hd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349250" y="1132417"/>
            <a:ext cx="8445500" cy="5069416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604D2B3-5AE4-41BB-81A6-0FD43267284A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fld id="{36D094C0-0CCA-443B-92F0-214D25609459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DDFE140B-D48C-4542-AB7E-EC12FA7CAB7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438850930"/>
      </p:ext>
    </p:extLst>
  </p:cSld>
  <p:clrMapOvr>
    <a:masterClrMapping/>
  </p:clrMapOvr>
  <p:hf hd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ha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349250" y="1147233"/>
            <a:ext cx="4159249" cy="504825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607983" y="1147233"/>
            <a:ext cx="4159249" cy="504825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4B7C38C3-4B3D-425C-972B-EBECB3DC56C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/>
            </a:lvl1pPr>
          </a:lstStyle>
          <a:p>
            <a:fld id="{E25FDD8F-20EA-408A-AE3F-0E374462DA19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B17A2802-7745-496B-8BC7-64A7D963FE3A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2706606857"/>
      </p:ext>
    </p:extLst>
  </p:cSld>
  <p:clrMapOvr>
    <a:masterClrMapping/>
  </p:clrMapOvr>
  <p:hf hd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349250" y="1147233"/>
            <a:ext cx="4159249" cy="504825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607983" y="1147233"/>
            <a:ext cx="4159249" cy="2461684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4612216" y="3723217"/>
            <a:ext cx="4159249" cy="2461684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86D6D4AE-F26B-4117-BB27-B98AD4546C57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fld id="{B931EF90-6269-4264-9EAD-65EE09CA2082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9C68D4E-49EC-46C4-B9D5-FC62F96D551E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3917981392"/>
      </p:ext>
    </p:extLst>
  </p:cSld>
  <p:clrMapOvr>
    <a:masterClrMapping/>
  </p:clrMapOvr>
  <p:hf hd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607983" y="1147233"/>
            <a:ext cx="4159249" cy="2461684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4612216" y="3723217"/>
            <a:ext cx="4159249" cy="2461684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Chart Placeholder 4"/>
          <p:cNvSpPr>
            <a:spLocks noGrp="1"/>
          </p:cNvSpPr>
          <p:nvPr>
            <p:ph type="chart" sz="quarter" idx="21"/>
          </p:nvPr>
        </p:nvSpPr>
        <p:spPr>
          <a:xfrm>
            <a:off x="347133" y="1140883"/>
            <a:ext cx="4159249" cy="2461684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14" name="Chart Placeholder 4"/>
          <p:cNvSpPr>
            <a:spLocks noGrp="1"/>
          </p:cNvSpPr>
          <p:nvPr>
            <p:ph type="chart" sz="quarter" idx="22"/>
          </p:nvPr>
        </p:nvSpPr>
        <p:spPr>
          <a:xfrm>
            <a:off x="351366" y="3716867"/>
            <a:ext cx="4159249" cy="2461684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B1FAD5B6-5D5C-4E7C-B5E1-E9D571432B45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/>
            </a:lvl1pPr>
          </a:lstStyle>
          <a:p>
            <a:fld id="{744389AD-A885-468D-BF77-A0629FEDB1AB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CD77D376-7501-4564-AFC5-83059576ED82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519598226"/>
      </p:ext>
    </p:extLst>
  </p:cSld>
  <p:clrMapOvr>
    <a:masterClrMapping/>
  </p:clrMapOvr>
  <p:hf hd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086">
            <a:extLst>
              <a:ext uri="{FF2B5EF4-FFF2-40B4-BE49-F238E27FC236}">
                <a16:creationId xmlns:a16="http://schemas.microsoft.com/office/drawing/2014/main" id="{F5443646-2BBE-4CB4-85A5-01F5536D4E87}"/>
              </a:ext>
            </a:extLst>
          </p:cNvPr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" name="Line 1087">
            <a:extLst>
              <a:ext uri="{FF2B5EF4-FFF2-40B4-BE49-F238E27FC236}">
                <a16:creationId xmlns:a16="http://schemas.microsoft.com/office/drawing/2014/main" id="{5561750D-5EAB-4E8E-9BA7-56A2461A6ADF}"/>
              </a:ext>
            </a:extLst>
          </p:cNvPr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6" name="Rectangle 1088">
            <a:extLst>
              <a:ext uri="{FF2B5EF4-FFF2-40B4-BE49-F238E27FC236}">
                <a16:creationId xmlns:a16="http://schemas.microsoft.com/office/drawing/2014/main" id="{EBC536A5-1EE3-47EE-B7BA-E5DA1A9B96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7" name="Rectangle 1089">
            <a:extLst>
              <a:ext uri="{FF2B5EF4-FFF2-40B4-BE49-F238E27FC236}">
                <a16:creationId xmlns:a16="http://schemas.microsoft.com/office/drawing/2014/main" id="{F29A461E-FA6E-4F77-8945-20C4A806A6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8" name="Freeform 1098">
            <a:extLst>
              <a:ext uri="{FF2B5EF4-FFF2-40B4-BE49-F238E27FC236}">
                <a16:creationId xmlns:a16="http://schemas.microsoft.com/office/drawing/2014/main" id="{AA9EA68B-2152-4AFA-A56D-3EB7F452C34C}"/>
              </a:ext>
            </a:extLst>
          </p:cNvPr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>
              <a:gd name="T0" fmla="*/ 0 w 2"/>
              <a:gd name="T1" fmla="*/ 0 h 1587"/>
              <a:gd name="T2" fmla="*/ 2147483647 w 2"/>
              <a:gd name="T3" fmla="*/ 0 h 1587"/>
              <a:gd name="T4" fmla="*/ 2147483647 w 2"/>
              <a:gd name="T5" fmla="*/ 0 h 1587"/>
              <a:gd name="T6" fmla="*/ 2147483647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2147483647 w 2"/>
              <a:gd name="T35" fmla="*/ 0 h 1587"/>
              <a:gd name="T36" fmla="*/ 2147483647 w 2"/>
              <a:gd name="T37" fmla="*/ 0 h 1587"/>
              <a:gd name="T38" fmla="*/ 2147483647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" name="Freeform 1115">
            <a:extLst>
              <a:ext uri="{FF2B5EF4-FFF2-40B4-BE49-F238E27FC236}">
                <a16:creationId xmlns:a16="http://schemas.microsoft.com/office/drawing/2014/main" id="{9EDA1A86-0E97-4168-AF3E-E519BA53ABFD}"/>
              </a:ext>
            </a:extLst>
          </p:cNvPr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0 w 2"/>
              <a:gd name="T5" fmla="*/ 2147483647 h 2"/>
              <a:gd name="T6" fmla="*/ 0 w 2"/>
              <a:gd name="T7" fmla="*/ 2147483647 h 2"/>
              <a:gd name="T8" fmla="*/ 0 w 2"/>
              <a:gd name="T9" fmla="*/ 2147483647 h 2"/>
              <a:gd name="T10" fmla="*/ 0 w 2"/>
              <a:gd name="T11" fmla="*/ 2147483647 h 2"/>
              <a:gd name="T12" fmla="*/ 2147483647 w 2"/>
              <a:gd name="T13" fmla="*/ 2147483647 h 2"/>
              <a:gd name="T14" fmla="*/ 2147483647 w 2"/>
              <a:gd name="T15" fmla="*/ 2147483647 h 2"/>
              <a:gd name="T16" fmla="*/ 2147483647 w 2"/>
              <a:gd name="T17" fmla="*/ 0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0 w 2"/>
              <a:gd name="T25" fmla="*/ 2147483647 h 2"/>
              <a:gd name="T26" fmla="*/ 0 w 2"/>
              <a:gd name="T27" fmla="*/ 2147483647 h 2"/>
              <a:gd name="T28" fmla="*/ 2147483647 w 2"/>
              <a:gd name="T29" fmla="*/ 2147483647 h 2"/>
              <a:gd name="T30" fmla="*/ 2147483647 w 2"/>
              <a:gd name="T31" fmla="*/ 2147483647 h 2"/>
              <a:gd name="T32" fmla="*/ 2147483647 w 2"/>
              <a:gd name="T33" fmla="*/ 2147483647 h 2"/>
              <a:gd name="T34" fmla="*/ 2147483647 w 2"/>
              <a:gd name="T35" fmla="*/ 2147483647 h 2"/>
              <a:gd name="T36" fmla="*/ 2147483647 w 2"/>
              <a:gd name="T37" fmla="*/ 2147483647 h 2"/>
              <a:gd name="T38" fmla="*/ 2147483647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0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0 w 2"/>
              <a:gd name="T53" fmla="*/ 2147483647 h 2"/>
              <a:gd name="T54" fmla="*/ 2147483647 w 2"/>
              <a:gd name="T55" fmla="*/ 2147483647 h 2"/>
              <a:gd name="T56" fmla="*/ 0 w 2"/>
              <a:gd name="T57" fmla="*/ 2147483647 h 2"/>
              <a:gd name="T58" fmla="*/ 2147483647 w 2"/>
              <a:gd name="T59" fmla="*/ 2147483647 h 2"/>
              <a:gd name="T60" fmla="*/ 2147483647 w 2"/>
              <a:gd name="T61" fmla="*/ 2147483647 h 2"/>
              <a:gd name="T62" fmla="*/ 2147483647 w 2"/>
              <a:gd name="T63" fmla="*/ 2147483647 h 2"/>
              <a:gd name="T64" fmla="*/ 0 w 2"/>
              <a:gd name="T65" fmla="*/ 2147483647 h 2"/>
              <a:gd name="T66" fmla="*/ 0 w 2"/>
              <a:gd name="T67" fmla="*/ 2147483647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" name="Freeform 1120">
            <a:extLst>
              <a:ext uri="{FF2B5EF4-FFF2-40B4-BE49-F238E27FC236}">
                <a16:creationId xmlns:a16="http://schemas.microsoft.com/office/drawing/2014/main" id="{488C7E4F-160A-4C86-98D4-5E2EEA4404EB}"/>
              </a:ext>
            </a:extLst>
          </p:cNvPr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2147483647 h 2"/>
              <a:gd name="T4" fmla="*/ 0 w 2"/>
              <a:gd name="T5" fmla="*/ 2147483647 h 2"/>
              <a:gd name="T6" fmla="*/ 0 w 2"/>
              <a:gd name="T7" fmla="*/ 2147483647 h 2"/>
              <a:gd name="T8" fmla="*/ 2147483647 w 2"/>
              <a:gd name="T9" fmla="*/ 2147483647 h 2"/>
              <a:gd name="T10" fmla="*/ 2147483647 w 2"/>
              <a:gd name="T11" fmla="*/ 0 h 2"/>
              <a:gd name="T12" fmla="*/ 2147483647 w 2"/>
              <a:gd name="T13" fmla="*/ 0 h 2"/>
              <a:gd name="T14" fmla="*/ 2147483647 w 2"/>
              <a:gd name="T15" fmla="*/ 0 h 2"/>
              <a:gd name="T16" fmla="*/ 0 w 2"/>
              <a:gd name="T17" fmla="*/ 0 h 2"/>
              <a:gd name="T18" fmla="*/ 0 w 2"/>
              <a:gd name="T19" fmla="*/ 2147483647 h 2"/>
              <a:gd name="T20" fmla="*/ 0 w 2"/>
              <a:gd name="T21" fmla="*/ 2147483647 h 2"/>
              <a:gd name="T22" fmla="*/ 2147483647 w 2"/>
              <a:gd name="T23" fmla="*/ 0 h 2"/>
              <a:gd name="T24" fmla="*/ 2147483647 w 2"/>
              <a:gd name="T25" fmla="*/ 0 h 2"/>
              <a:gd name="T26" fmla="*/ 2147483647 w 2"/>
              <a:gd name="T27" fmla="*/ 0 h 2"/>
              <a:gd name="T28" fmla="*/ 2147483647 w 2"/>
              <a:gd name="T29" fmla="*/ 2147483647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2147483647 h 2"/>
              <a:gd name="T38" fmla="*/ 0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2147483647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2147483647 w 2"/>
              <a:gd name="T53" fmla="*/ 2147483647 h 2"/>
              <a:gd name="T54" fmla="*/ 2147483647 w 2"/>
              <a:gd name="T55" fmla="*/ 2147483647 h 2"/>
              <a:gd name="T56" fmla="*/ 2147483647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" name="Freeform 1134">
            <a:extLst>
              <a:ext uri="{FF2B5EF4-FFF2-40B4-BE49-F238E27FC236}">
                <a16:creationId xmlns:a16="http://schemas.microsoft.com/office/drawing/2014/main" id="{95B663A3-EEEF-43FB-88D9-748202387491}"/>
              </a:ext>
            </a:extLst>
          </p:cNvPr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>
              <a:gd name="T0" fmla="*/ 2147483647 w 2"/>
              <a:gd name="T1" fmla="*/ 2147483647 h 4"/>
              <a:gd name="T2" fmla="*/ 2147483647 w 2"/>
              <a:gd name="T3" fmla="*/ 2147483647 h 4"/>
              <a:gd name="T4" fmla="*/ 2147483647 w 2"/>
              <a:gd name="T5" fmla="*/ 2147483647 h 4"/>
              <a:gd name="T6" fmla="*/ 2147483647 w 2"/>
              <a:gd name="T7" fmla="*/ 2147483647 h 4"/>
              <a:gd name="T8" fmla="*/ 2147483647 w 2"/>
              <a:gd name="T9" fmla="*/ 0 h 4"/>
              <a:gd name="T10" fmla="*/ 2147483647 w 2"/>
              <a:gd name="T11" fmla="*/ 0 h 4"/>
              <a:gd name="T12" fmla="*/ 2147483647 w 2"/>
              <a:gd name="T13" fmla="*/ 0 h 4"/>
              <a:gd name="T14" fmla="*/ 0 w 2"/>
              <a:gd name="T15" fmla="*/ 2147483647 h 4"/>
              <a:gd name="T16" fmla="*/ 2147483647 w 2"/>
              <a:gd name="T17" fmla="*/ 2147483647 h 4"/>
              <a:gd name="T18" fmla="*/ 2147483647 w 2"/>
              <a:gd name="T19" fmla="*/ 2147483647 h 4"/>
              <a:gd name="T20" fmla="*/ 2147483647 w 2"/>
              <a:gd name="T21" fmla="*/ 2147483647 h 4"/>
              <a:gd name="T22" fmla="*/ 2147483647 w 2"/>
              <a:gd name="T23" fmla="*/ 0 h 4"/>
              <a:gd name="T24" fmla="*/ 2147483647 w 2"/>
              <a:gd name="T25" fmla="*/ 2147483647 h 4"/>
              <a:gd name="T26" fmla="*/ 2147483647 w 2"/>
              <a:gd name="T27" fmla="*/ 2147483647 h 4"/>
              <a:gd name="T28" fmla="*/ 2147483647 w 2"/>
              <a:gd name="T29" fmla="*/ 2147483647 h 4"/>
              <a:gd name="T30" fmla="*/ 2147483647 w 2"/>
              <a:gd name="T31" fmla="*/ 2147483647 h 4"/>
              <a:gd name="T32" fmla="*/ 2147483647 w 2"/>
              <a:gd name="T33" fmla="*/ 2147483647 h 4"/>
              <a:gd name="T34" fmla="*/ 2147483647 w 2"/>
              <a:gd name="T35" fmla="*/ 2147483647 h 4"/>
              <a:gd name="T36" fmla="*/ 2147483647 w 2"/>
              <a:gd name="T37" fmla="*/ 2147483647 h 4"/>
              <a:gd name="T38" fmla="*/ 2147483647 w 2"/>
              <a:gd name="T39" fmla="*/ 2147483647 h 4"/>
              <a:gd name="T40" fmla="*/ 2147483647 w 2"/>
              <a:gd name="T41" fmla="*/ 2147483647 h 4"/>
              <a:gd name="T42" fmla="*/ 2147483647 w 2"/>
              <a:gd name="T43" fmla="*/ 2147483647 h 4"/>
              <a:gd name="T44" fmla="*/ 2147483647 w 2"/>
              <a:gd name="T45" fmla="*/ 2147483647 h 4"/>
              <a:gd name="T46" fmla="*/ 2147483647 w 2"/>
              <a:gd name="T47" fmla="*/ 2147483647 h 4"/>
              <a:gd name="T48" fmla="*/ 2147483647 w 2"/>
              <a:gd name="T49" fmla="*/ 2147483647 h 4"/>
              <a:gd name="T50" fmla="*/ 2147483647 w 2"/>
              <a:gd name="T51" fmla="*/ 2147483647 h 4"/>
              <a:gd name="T52" fmla="*/ 0 w 2"/>
              <a:gd name="T53" fmla="*/ 2147483647 h 4"/>
              <a:gd name="T54" fmla="*/ 2147483647 w 2"/>
              <a:gd name="T55" fmla="*/ 2147483647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" name="Freeform 1141">
            <a:extLst>
              <a:ext uri="{FF2B5EF4-FFF2-40B4-BE49-F238E27FC236}">
                <a16:creationId xmlns:a16="http://schemas.microsoft.com/office/drawing/2014/main" id="{AD57A127-BA94-4872-9699-2CA53C14EE43}"/>
              </a:ext>
            </a:extLst>
          </p:cNvPr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>
              <a:gd name="T0" fmla="*/ 0 w 1587"/>
              <a:gd name="T1" fmla="*/ 2147483647 h 4"/>
              <a:gd name="T2" fmla="*/ 0 w 1587"/>
              <a:gd name="T3" fmla="*/ 2147483647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2147483647 h 4"/>
              <a:gd name="T10" fmla="*/ 0 w 1587"/>
              <a:gd name="T11" fmla="*/ 2147483647 h 4"/>
              <a:gd name="T12" fmla="*/ 0 w 1587"/>
              <a:gd name="T13" fmla="*/ 2147483647 h 4"/>
              <a:gd name="T14" fmla="*/ 0 w 1587"/>
              <a:gd name="T15" fmla="*/ 2147483647 h 4"/>
              <a:gd name="T16" fmla="*/ 0 w 1587"/>
              <a:gd name="T17" fmla="*/ 2147483647 h 4"/>
              <a:gd name="T18" fmla="*/ 0 w 1587"/>
              <a:gd name="T19" fmla="*/ 2147483647 h 4"/>
              <a:gd name="T20" fmla="*/ 0 w 1587"/>
              <a:gd name="T21" fmla="*/ 2147483647 h 4"/>
              <a:gd name="T22" fmla="*/ 0 w 1587"/>
              <a:gd name="T23" fmla="*/ 2147483647 h 4"/>
              <a:gd name="T24" fmla="*/ 0 w 1587"/>
              <a:gd name="T25" fmla="*/ 2147483647 h 4"/>
              <a:gd name="T26" fmla="*/ 0 w 1587"/>
              <a:gd name="T27" fmla="*/ 2147483647 h 4"/>
              <a:gd name="T28" fmla="*/ 0 w 1587"/>
              <a:gd name="T29" fmla="*/ 2147483647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3" name="Freeform 1148">
            <a:extLst>
              <a:ext uri="{FF2B5EF4-FFF2-40B4-BE49-F238E27FC236}">
                <a16:creationId xmlns:a16="http://schemas.microsoft.com/office/drawing/2014/main" id="{216051F6-642C-4F85-91FA-54B0D8AB0661}"/>
              </a:ext>
            </a:extLst>
          </p:cNvPr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>
              <a:gd name="T0" fmla="*/ 2147483647 w 2"/>
              <a:gd name="T1" fmla="*/ 2147483647 h 2"/>
              <a:gd name="T2" fmla="*/ 2147483647 w 2"/>
              <a:gd name="T3" fmla="*/ 0 h 2"/>
              <a:gd name="T4" fmla="*/ 2147483647 w 2"/>
              <a:gd name="T5" fmla="*/ 0 h 2"/>
              <a:gd name="T6" fmla="*/ 2147483647 w 2"/>
              <a:gd name="T7" fmla="*/ 0 h 2"/>
              <a:gd name="T8" fmla="*/ 2147483647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2147483647 h 2"/>
              <a:gd name="T16" fmla="*/ 0 w 2"/>
              <a:gd name="T17" fmla="*/ 2147483647 h 2"/>
              <a:gd name="T18" fmla="*/ 0 w 2"/>
              <a:gd name="T19" fmla="*/ 2147483647 h 2"/>
              <a:gd name="T20" fmla="*/ 2147483647 w 2"/>
              <a:gd name="T21" fmla="*/ 2147483647 h 2"/>
              <a:gd name="T22" fmla="*/ 2147483647 w 2"/>
              <a:gd name="T23" fmla="*/ 2147483647 h 2"/>
              <a:gd name="T24" fmla="*/ 2147483647 w 2"/>
              <a:gd name="T25" fmla="*/ 0 h 2"/>
              <a:gd name="T26" fmla="*/ 2147483647 w 2"/>
              <a:gd name="T27" fmla="*/ 0 h 2"/>
              <a:gd name="T28" fmla="*/ 2147483647 w 2"/>
              <a:gd name="T29" fmla="*/ 0 h 2"/>
              <a:gd name="T30" fmla="*/ 0 w 2"/>
              <a:gd name="T31" fmla="*/ 2147483647 h 2"/>
              <a:gd name="T32" fmla="*/ 2147483647 w 2"/>
              <a:gd name="T33" fmla="*/ 2147483647 h 2"/>
              <a:gd name="T34" fmla="*/ 2147483647 w 2"/>
              <a:gd name="T35" fmla="*/ 0 h 2"/>
              <a:gd name="T36" fmla="*/ 0 w 2"/>
              <a:gd name="T37" fmla="*/ 2147483647 h 2"/>
              <a:gd name="T38" fmla="*/ 2147483647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0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0 w 2"/>
              <a:gd name="T53" fmla="*/ 2147483647 h 2"/>
              <a:gd name="T54" fmla="*/ 0 w 2"/>
              <a:gd name="T55" fmla="*/ 2147483647 h 2"/>
              <a:gd name="T56" fmla="*/ 0 w 2"/>
              <a:gd name="T57" fmla="*/ 2147483647 h 2"/>
              <a:gd name="T58" fmla="*/ 2147483647 w 2"/>
              <a:gd name="T59" fmla="*/ 2147483647 h 2"/>
              <a:gd name="T60" fmla="*/ 2147483647 w 2"/>
              <a:gd name="T61" fmla="*/ 2147483647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4" name="Freeform 1150">
            <a:extLst>
              <a:ext uri="{FF2B5EF4-FFF2-40B4-BE49-F238E27FC236}">
                <a16:creationId xmlns:a16="http://schemas.microsoft.com/office/drawing/2014/main" id="{120D44E4-6057-400F-8955-CBFDD582E71C}"/>
              </a:ext>
            </a:extLst>
          </p:cNvPr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>
              <a:gd name="T0" fmla="*/ 0 w 1587"/>
              <a:gd name="T1" fmla="*/ 2147483647 h 2"/>
              <a:gd name="T2" fmla="*/ 0 w 1587"/>
              <a:gd name="T3" fmla="*/ 0 h 2"/>
              <a:gd name="T4" fmla="*/ 0 w 1587"/>
              <a:gd name="T5" fmla="*/ 2147483647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5" name="Freeform 1152">
            <a:extLst>
              <a:ext uri="{FF2B5EF4-FFF2-40B4-BE49-F238E27FC236}">
                <a16:creationId xmlns:a16="http://schemas.microsoft.com/office/drawing/2014/main" id="{7CADB504-84D3-4728-B8AA-138AE3B9299D}"/>
              </a:ext>
            </a:extLst>
          </p:cNvPr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>
              <a:gd name="T0" fmla="*/ 2147483647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2147483647 h 2"/>
              <a:gd name="T10" fmla="*/ 2147483647 w 2"/>
              <a:gd name="T11" fmla="*/ 2147483647 h 2"/>
              <a:gd name="T12" fmla="*/ 2147483647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2147483647 h 2"/>
              <a:gd name="T22" fmla="*/ 2147483647 w 2"/>
              <a:gd name="T23" fmla="*/ 2147483647 h 2"/>
              <a:gd name="T24" fmla="*/ 2147483647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6" name="Freeform 1154">
            <a:extLst>
              <a:ext uri="{FF2B5EF4-FFF2-40B4-BE49-F238E27FC236}">
                <a16:creationId xmlns:a16="http://schemas.microsoft.com/office/drawing/2014/main" id="{300D1B4F-C958-4F5A-AEDE-8B71992B942E}"/>
              </a:ext>
            </a:extLst>
          </p:cNvPr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>
              <a:gd name="T0" fmla="*/ 2147483647 w 2"/>
              <a:gd name="T1" fmla="*/ 0 h 1588"/>
              <a:gd name="T2" fmla="*/ 0 w 2"/>
              <a:gd name="T3" fmla="*/ 0 h 1588"/>
              <a:gd name="T4" fmla="*/ 2147483647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7" name="Freeform 1156">
            <a:extLst>
              <a:ext uri="{FF2B5EF4-FFF2-40B4-BE49-F238E27FC236}">
                <a16:creationId xmlns:a16="http://schemas.microsoft.com/office/drawing/2014/main" id="{D6AE6C6B-AACE-46C1-8147-521111FAF039}"/>
              </a:ext>
            </a:extLst>
          </p:cNvPr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>
              <a:gd name="T0" fmla="*/ 2147483647 w 2"/>
              <a:gd name="T1" fmla="*/ 2147483647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2147483647 h 2"/>
              <a:gd name="T8" fmla="*/ 2147483647 w 2"/>
              <a:gd name="T9" fmla="*/ 2147483647 h 2"/>
              <a:gd name="T10" fmla="*/ 2147483647 w 2"/>
              <a:gd name="T11" fmla="*/ 2147483647 h 2"/>
              <a:gd name="T12" fmla="*/ 2147483647 w 2"/>
              <a:gd name="T13" fmla="*/ 2147483647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2147483647 h 2"/>
              <a:gd name="T20" fmla="*/ 2147483647 w 2"/>
              <a:gd name="T21" fmla="*/ 2147483647 h 2"/>
              <a:gd name="T22" fmla="*/ 2147483647 w 2"/>
              <a:gd name="T23" fmla="*/ 2147483647 h 2"/>
              <a:gd name="T24" fmla="*/ 2147483647 w 2"/>
              <a:gd name="T25" fmla="*/ 2147483647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8" name="Freeform 1163">
            <a:extLst>
              <a:ext uri="{FF2B5EF4-FFF2-40B4-BE49-F238E27FC236}">
                <a16:creationId xmlns:a16="http://schemas.microsoft.com/office/drawing/2014/main" id="{0AEFC53D-DE6F-4432-9FA3-F435D9008EC8}"/>
              </a:ext>
            </a:extLst>
          </p:cNvPr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>
              <a:gd name="T0" fmla="*/ 2147483647 w 4"/>
              <a:gd name="T1" fmla="*/ 2147483647 h 2"/>
              <a:gd name="T2" fmla="*/ 2147483647 w 4"/>
              <a:gd name="T3" fmla="*/ 2147483647 h 2"/>
              <a:gd name="T4" fmla="*/ 2147483647 w 4"/>
              <a:gd name="T5" fmla="*/ 2147483647 h 2"/>
              <a:gd name="T6" fmla="*/ 2147483647 w 4"/>
              <a:gd name="T7" fmla="*/ 0 h 2"/>
              <a:gd name="T8" fmla="*/ 2147483647 w 4"/>
              <a:gd name="T9" fmla="*/ 0 h 2"/>
              <a:gd name="T10" fmla="*/ 2147483647 w 4"/>
              <a:gd name="T11" fmla="*/ 0 h 2"/>
              <a:gd name="T12" fmla="*/ 2147483647 w 4"/>
              <a:gd name="T13" fmla="*/ 0 h 2"/>
              <a:gd name="T14" fmla="*/ 0 w 4"/>
              <a:gd name="T15" fmla="*/ 2147483647 h 2"/>
              <a:gd name="T16" fmla="*/ 2147483647 w 4"/>
              <a:gd name="T17" fmla="*/ 2147483647 h 2"/>
              <a:gd name="T18" fmla="*/ 2147483647 w 4"/>
              <a:gd name="T19" fmla="*/ 0 h 2"/>
              <a:gd name="T20" fmla="*/ 2147483647 w 4"/>
              <a:gd name="T21" fmla="*/ 2147483647 h 2"/>
              <a:gd name="T22" fmla="*/ 2147483647 w 4"/>
              <a:gd name="T23" fmla="*/ 0 h 2"/>
              <a:gd name="T24" fmla="*/ 2147483647 w 4"/>
              <a:gd name="T25" fmla="*/ 0 h 2"/>
              <a:gd name="T26" fmla="*/ 2147483647 w 4"/>
              <a:gd name="T27" fmla="*/ 0 h 2"/>
              <a:gd name="T28" fmla="*/ 2147483647 w 4"/>
              <a:gd name="T29" fmla="*/ 0 h 2"/>
              <a:gd name="T30" fmla="*/ 0 w 4"/>
              <a:gd name="T31" fmla="*/ 0 h 2"/>
              <a:gd name="T32" fmla="*/ 2147483647 w 4"/>
              <a:gd name="T33" fmla="*/ 2147483647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9" name="Freeform 1172">
            <a:extLst>
              <a:ext uri="{FF2B5EF4-FFF2-40B4-BE49-F238E27FC236}">
                <a16:creationId xmlns:a16="http://schemas.microsoft.com/office/drawing/2014/main" id="{C43A71AD-6B72-4627-A98D-CBE7417AE26A}"/>
              </a:ext>
            </a:extLst>
          </p:cNvPr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2147483647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2147483647 h 2"/>
              <a:gd name="T14" fmla="*/ 0 w 2"/>
              <a:gd name="T15" fmla="*/ 2147483647 h 2"/>
              <a:gd name="T16" fmla="*/ 0 w 2"/>
              <a:gd name="T17" fmla="*/ 2147483647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0 w 2"/>
              <a:gd name="T25" fmla="*/ 2147483647 h 2"/>
              <a:gd name="T26" fmla="*/ 0 w 2"/>
              <a:gd name="T27" fmla="*/ 2147483647 h 2"/>
              <a:gd name="T28" fmla="*/ 0 w 2"/>
              <a:gd name="T29" fmla="*/ 2147483647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2147483647 h 2"/>
              <a:gd name="T38" fmla="*/ 0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0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0 w 2"/>
              <a:gd name="T53" fmla="*/ 2147483647 h 2"/>
              <a:gd name="T54" fmla="*/ 0 w 2"/>
              <a:gd name="T55" fmla="*/ 2147483647 h 2"/>
              <a:gd name="T56" fmla="*/ 0 w 2"/>
              <a:gd name="T57" fmla="*/ 2147483647 h 2"/>
              <a:gd name="T58" fmla="*/ 0 w 2"/>
              <a:gd name="T59" fmla="*/ 2147483647 h 2"/>
              <a:gd name="T60" fmla="*/ 0 w 2"/>
              <a:gd name="T61" fmla="*/ 2147483647 h 2"/>
              <a:gd name="T62" fmla="*/ 0 w 2"/>
              <a:gd name="T63" fmla="*/ 2147483647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" name="Freeform 1177">
            <a:extLst>
              <a:ext uri="{FF2B5EF4-FFF2-40B4-BE49-F238E27FC236}">
                <a16:creationId xmlns:a16="http://schemas.microsoft.com/office/drawing/2014/main" id="{B1EC7346-7D52-46E8-A2D7-AE11E76CC053}"/>
              </a:ext>
            </a:extLst>
          </p:cNvPr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>
              <a:gd name="T0" fmla="*/ 0 w 2"/>
              <a:gd name="T1" fmla="*/ 2147483647 h 2"/>
              <a:gd name="T2" fmla="*/ 2147483647 w 2"/>
              <a:gd name="T3" fmla="*/ 2147483647 h 2"/>
              <a:gd name="T4" fmla="*/ 2147483647 w 2"/>
              <a:gd name="T5" fmla="*/ 2147483647 h 2"/>
              <a:gd name="T6" fmla="*/ 2147483647 w 2"/>
              <a:gd name="T7" fmla="*/ 0 h 2"/>
              <a:gd name="T8" fmla="*/ 2147483647 w 2"/>
              <a:gd name="T9" fmla="*/ 0 h 2"/>
              <a:gd name="T10" fmla="*/ 2147483647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2147483647 h 2"/>
              <a:gd name="T40" fmla="*/ 0 w 2"/>
              <a:gd name="T41" fmla="*/ 2147483647 h 2"/>
              <a:gd name="T42" fmla="*/ 2147483647 w 2"/>
              <a:gd name="T43" fmla="*/ 2147483647 h 2"/>
              <a:gd name="T44" fmla="*/ 2147483647 w 2"/>
              <a:gd name="T45" fmla="*/ 0 h 2"/>
              <a:gd name="T46" fmla="*/ 2147483647 w 2"/>
              <a:gd name="T47" fmla="*/ 0 h 2"/>
              <a:gd name="T48" fmla="*/ 2147483647 w 2"/>
              <a:gd name="T49" fmla="*/ 0 h 2"/>
              <a:gd name="T50" fmla="*/ 2147483647 w 2"/>
              <a:gd name="T51" fmla="*/ 0 h 2"/>
              <a:gd name="T52" fmla="*/ 2147483647 w 2"/>
              <a:gd name="T53" fmla="*/ 0 h 2"/>
              <a:gd name="T54" fmla="*/ 2147483647 w 2"/>
              <a:gd name="T55" fmla="*/ 0 h 2"/>
              <a:gd name="T56" fmla="*/ 2147483647 w 2"/>
              <a:gd name="T57" fmla="*/ 0 h 2"/>
              <a:gd name="T58" fmla="*/ 2147483647 w 2"/>
              <a:gd name="T59" fmla="*/ 0 h 2"/>
              <a:gd name="T60" fmla="*/ 2147483647 w 2"/>
              <a:gd name="T61" fmla="*/ 0 h 2"/>
              <a:gd name="T62" fmla="*/ 2147483647 w 2"/>
              <a:gd name="T63" fmla="*/ 0 h 2"/>
              <a:gd name="T64" fmla="*/ 2147483647 w 2"/>
              <a:gd name="T65" fmla="*/ 0 h 2"/>
              <a:gd name="T66" fmla="*/ 2147483647 w 2"/>
              <a:gd name="T67" fmla="*/ 2147483647 h 2"/>
              <a:gd name="T68" fmla="*/ 2147483647 w 2"/>
              <a:gd name="T69" fmla="*/ 0 h 2"/>
              <a:gd name="T70" fmla="*/ 2147483647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2147483647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" name="Freeform 1180">
            <a:extLst>
              <a:ext uri="{FF2B5EF4-FFF2-40B4-BE49-F238E27FC236}">
                <a16:creationId xmlns:a16="http://schemas.microsoft.com/office/drawing/2014/main" id="{ED4891B8-7A1A-4AD8-AAB4-034F6F9BB1E8}"/>
              </a:ext>
            </a:extLst>
          </p:cNvPr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>
              <a:gd name="T0" fmla="*/ 0 w 2"/>
              <a:gd name="T1" fmla="*/ 2147483647 h 3"/>
              <a:gd name="T2" fmla="*/ 0 w 2"/>
              <a:gd name="T3" fmla="*/ 2147483647 h 3"/>
              <a:gd name="T4" fmla="*/ 2147483647 w 2"/>
              <a:gd name="T5" fmla="*/ 2147483647 h 3"/>
              <a:gd name="T6" fmla="*/ 2147483647 w 2"/>
              <a:gd name="T7" fmla="*/ 2147483647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2147483647 h 3"/>
              <a:gd name="T16" fmla="*/ 0 w 2"/>
              <a:gd name="T17" fmla="*/ 2147483647 h 3"/>
              <a:gd name="T18" fmla="*/ 0 w 2"/>
              <a:gd name="T19" fmla="*/ 2147483647 h 3"/>
              <a:gd name="T20" fmla="*/ 0 w 2"/>
              <a:gd name="T21" fmla="*/ 2147483647 h 3"/>
              <a:gd name="T22" fmla="*/ 0 w 2"/>
              <a:gd name="T23" fmla="*/ 0 h 3"/>
              <a:gd name="T24" fmla="*/ 0 w 2"/>
              <a:gd name="T25" fmla="*/ 2147483647 h 3"/>
              <a:gd name="T26" fmla="*/ 0 w 2"/>
              <a:gd name="T27" fmla="*/ 2147483647 h 3"/>
              <a:gd name="T28" fmla="*/ 0 w 2"/>
              <a:gd name="T29" fmla="*/ 2147483647 h 3"/>
              <a:gd name="T30" fmla="*/ 0 w 2"/>
              <a:gd name="T31" fmla="*/ 2147483647 h 3"/>
              <a:gd name="T32" fmla="*/ 0 w 2"/>
              <a:gd name="T33" fmla="*/ 2147483647 h 3"/>
              <a:gd name="T34" fmla="*/ 0 w 2"/>
              <a:gd name="T35" fmla="*/ 2147483647 h 3"/>
              <a:gd name="T36" fmla="*/ 0 w 2"/>
              <a:gd name="T37" fmla="*/ 2147483647 h 3"/>
              <a:gd name="T38" fmla="*/ 0 w 2"/>
              <a:gd name="T39" fmla="*/ 2147483647 h 3"/>
              <a:gd name="T40" fmla="*/ 0 w 2"/>
              <a:gd name="T41" fmla="*/ 2147483647 h 3"/>
              <a:gd name="T42" fmla="*/ 0 w 2"/>
              <a:gd name="T43" fmla="*/ 2147483647 h 3"/>
              <a:gd name="T44" fmla="*/ 0 w 2"/>
              <a:gd name="T45" fmla="*/ 2147483647 h 3"/>
              <a:gd name="T46" fmla="*/ 0 w 2"/>
              <a:gd name="T47" fmla="*/ 2147483647 h 3"/>
              <a:gd name="T48" fmla="*/ 0 w 2"/>
              <a:gd name="T49" fmla="*/ 2147483647 h 3"/>
              <a:gd name="T50" fmla="*/ 0 w 2"/>
              <a:gd name="T51" fmla="*/ 2147483647 h 3"/>
              <a:gd name="T52" fmla="*/ 0 w 2"/>
              <a:gd name="T53" fmla="*/ 2147483647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" name="Line 1187">
            <a:extLst>
              <a:ext uri="{FF2B5EF4-FFF2-40B4-BE49-F238E27FC236}">
                <a16:creationId xmlns:a16="http://schemas.microsoft.com/office/drawing/2014/main" id="{DD8D646D-34CB-4989-8377-E18F3B1E7C8A}"/>
              </a:ext>
            </a:extLst>
          </p:cNvPr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" name="Line 1188">
            <a:extLst>
              <a:ext uri="{FF2B5EF4-FFF2-40B4-BE49-F238E27FC236}">
                <a16:creationId xmlns:a16="http://schemas.microsoft.com/office/drawing/2014/main" id="{3B383013-3EE0-456E-8944-D531EADF0092}"/>
              </a:ext>
            </a:extLst>
          </p:cNvPr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" name="Freeform 1208">
            <a:extLst>
              <a:ext uri="{FF2B5EF4-FFF2-40B4-BE49-F238E27FC236}">
                <a16:creationId xmlns:a16="http://schemas.microsoft.com/office/drawing/2014/main" id="{B06DA6A3-DC4A-43D8-8701-7DD0840398C3}"/>
              </a:ext>
            </a:extLst>
          </p:cNvPr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" name="Freeform 1210">
            <a:extLst>
              <a:ext uri="{FF2B5EF4-FFF2-40B4-BE49-F238E27FC236}">
                <a16:creationId xmlns:a16="http://schemas.microsoft.com/office/drawing/2014/main" id="{004C03E0-D520-4C46-84A4-CEADD5106A93}"/>
              </a:ext>
            </a:extLst>
          </p:cNvPr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2147483647 h 2"/>
              <a:gd name="T6" fmla="*/ 2147483647 w 2"/>
              <a:gd name="T7" fmla="*/ 0 h 2"/>
              <a:gd name="T8" fmla="*/ 2147483647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2147483647 h 2"/>
              <a:gd name="T18" fmla="*/ 0 w 2"/>
              <a:gd name="T19" fmla="*/ 2147483647 h 2"/>
              <a:gd name="T20" fmla="*/ 2147483647 w 2"/>
              <a:gd name="T21" fmla="*/ 2147483647 h 2"/>
              <a:gd name="T22" fmla="*/ 2147483647 w 2"/>
              <a:gd name="T23" fmla="*/ 0 h 2"/>
              <a:gd name="T24" fmla="*/ 2147483647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2147483647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6" name="Freeform 1214">
            <a:extLst>
              <a:ext uri="{FF2B5EF4-FFF2-40B4-BE49-F238E27FC236}">
                <a16:creationId xmlns:a16="http://schemas.microsoft.com/office/drawing/2014/main" id="{8949073E-47FA-47EC-B259-B057D426433C}"/>
              </a:ext>
            </a:extLst>
          </p:cNvPr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2147483647 h 2"/>
              <a:gd name="T2" fmla="*/ 2147483647 w 2"/>
              <a:gd name="T3" fmla="*/ 2147483647 h 2"/>
              <a:gd name="T4" fmla="*/ 0 w 2"/>
              <a:gd name="T5" fmla="*/ 0 h 2"/>
              <a:gd name="T6" fmla="*/ 0 w 2"/>
              <a:gd name="T7" fmla="*/ 2147483647 h 2"/>
              <a:gd name="T8" fmla="*/ 0 w 2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7" name="Rectangle 1215">
            <a:extLst>
              <a:ext uri="{FF2B5EF4-FFF2-40B4-BE49-F238E27FC236}">
                <a16:creationId xmlns:a16="http://schemas.microsoft.com/office/drawing/2014/main" id="{C9EC1F35-2002-4149-A579-EF11C8394B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28" name="Freeform 1217">
            <a:extLst>
              <a:ext uri="{FF2B5EF4-FFF2-40B4-BE49-F238E27FC236}">
                <a16:creationId xmlns:a16="http://schemas.microsoft.com/office/drawing/2014/main" id="{70DA9AFC-9F04-4B5F-8631-B8D87C1F1088}"/>
              </a:ext>
            </a:extLst>
          </p:cNvPr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9" name="Freeform 1219">
            <a:extLst>
              <a:ext uri="{FF2B5EF4-FFF2-40B4-BE49-F238E27FC236}">
                <a16:creationId xmlns:a16="http://schemas.microsoft.com/office/drawing/2014/main" id="{0C191B0B-86A9-45FD-AF75-B5AAB4CB5E81}"/>
              </a:ext>
            </a:extLst>
          </p:cNvPr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0" name="Freeform 1221">
            <a:extLst>
              <a:ext uri="{FF2B5EF4-FFF2-40B4-BE49-F238E27FC236}">
                <a16:creationId xmlns:a16="http://schemas.microsoft.com/office/drawing/2014/main" id="{36DF7B13-9987-4A53-875E-86CAE5E02878}"/>
              </a:ext>
            </a:extLst>
          </p:cNvPr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>
              <a:gd name="T0" fmla="*/ 2147483647 w 2"/>
              <a:gd name="T1" fmla="*/ 0 h 2"/>
              <a:gd name="T2" fmla="*/ 2147483647 w 2"/>
              <a:gd name="T3" fmla="*/ 0 h 2"/>
              <a:gd name="T4" fmla="*/ 2147483647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2147483647 h 2"/>
              <a:gd name="T12" fmla="*/ 2147483647 w 2"/>
              <a:gd name="T13" fmla="*/ 0 h 2"/>
              <a:gd name="T14" fmla="*/ 2147483647 w 2"/>
              <a:gd name="T15" fmla="*/ 0 h 2"/>
              <a:gd name="T16" fmla="*/ 2147483647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2147483647 h 2"/>
              <a:gd name="T24" fmla="*/ 2147483647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1" name="Freeform 1234">
            <a:extLst>
              <a:ext uri="{FF2B5EF4-FFF2-40B4-BE49-F238E27FC236}">
                <a16:creationId xmlns:a16="http://schemas.microsoft.com/office/drawing/2014/main" id="{87EBB480-8ECE-45DA-A8C0-6A4609EDF452}"/>
              </a:ext>
            </a:extLst>
          </p:cNvPr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2147483647 w 2"/>
              <a:gd name="T5" fmla="*/ 0 h 1587"/>
              <a:gd name="T6" fmla="*/ 2147483647 w 2"/>
              <a:gd name="T7" fmla="*/ 0 h 1587"/>
              <a:gd name="T8" fmla="*/ 2147483647 w 2"/>
              <a:gd name="T9" fmla="*/ 0 h 1587"/>
              <a:gd name="T10" fmla="*/ 2147483647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2147483647 w 2"/>
              <a:gd name="T25" fmla="*/ 0 h 1587"/>
              <a:gd name="T26" fmla="*/ 2147483647 w 2"/>
              <a:gd name="T27" fmla="*/ 0 h 1587"/>
              <a:gd name="T28" fmla="*/ 2147483647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2147483647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" name="Line 1237">
            <a:extLst>
              <a:ext uri="{FF2B5EF4-FFF2-40B4-BE49-F238E27FC236}">
                <a16:creationId xmlns:a16="http://schemas.microsoft.com/office/drawing/2014/main" id="{C0B904BD-FCF6-47EA-8199-6E59D396DFC6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3" name="Line 1238">
            <a:extLst>
              <a:ext uri="{FF2B5EF4-FFF2-40B4-BE49-F238E27FC236}">
                <a16:creationId xmlns:a16="http://schemas.microsoft.com/office/drawing/2014/main" id="{30C241D3-9CEE-4DF2-A6B1-14A1627FCF86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4" name="Freeform 1240">
            <a:extLst>
              <a:ext uri="{FF2B5EF4-FFF2-40B4-BE49-F238E27FC236}">
                <a16:creationId xmlns:a16="http://schemas.microsoft.com/office/drawing/2014/main" id="{F860D8A0-708A-405D-8B62-22C11FDD72EB}"/>
              </a:ext>
            </a:extLst>
          </p:cNvPr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>
              <a:gd name="T0" fmla="*/ 0 w 1587"/>
              <a:gd name="T1" fmla="*/ 2147483647 h 2"/>
              <a:gd name="T2" fmla="*/ 0 w 1587"/>
              <a:gd name="T3" fmla="*/ 2147483647 h 2"/>
              <a:gd name="T4" fmla="*/ 0 w 1587"/>
              <a:gd name="T5" fmla="*/ 0 h 2"/>
              <a:gd name="T6" fmla="*/ 0 w 1587"/>
              <a:gd name="T7" fmla="*/ 2147483647 h 2"/>
              <a:gd name="T8" fmla="*/ 0 w 1587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5" name="Freeform 1243">
            <a:extLst>
              <a:ext uri="{FF2B5EF4-FFF2-40B4-BE49-F238E27FC236}">
                <a16:creationId xmlns:a16="http://schemas.microsoft.com/office/drawing/2014/main" id="{F8D86008-2931-4645-B707-FE51BEC385AB}"/>
              </a:ext>
            </a:extLst>
          </p:cNvPr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>
              <a:gd name="T0" fmla="*/ 2147483647 w 2"/>
              <a:gd name="T1" fmla="*/ 2147483647 h 2"/>
              <a:gd name="T2" fmla="*/ 2147483647 w 2"/>
              <a:gd name="T3" fmla="*/ 2147483647 h 2"/>
              <a:gd name="T4" fmla="*/ 2147483647 w 2"/>
              <a:gd name="T5" fmla="*/ 2147483647 h 2"/>
              <a:gd name="T6" fmla="*/ 2147483647 w 2"/>
              <a:gd name="T7" fmla="*/ 2147483647 h 2"/>
              <a:gd name="T8" fmla="*/ 0 w 2"/>
              <a:gd name="T9" fmla="*/ 2147483647 h 2"/>
              <a:gd name="T10" fmla="*/ 0 w 2"/>
              <a:gd name="T11" fmla="*/ 2147483647 h 2"/>
              <a:gd name="T12" fmla="*/ 2147483647 w 2"/>
              <a:gd name="T13" fmla="*/ 2147483647 h 2"/>
              <a:gd name="T14" fmla="*/ 0 w 2"/>
              <a:gd name="T15" fmla="*/ 2147483647 h 2"/>
              <a:gd name="T16" fmla="*/ 0 w 2"/>
              <a:gd name="T17" fmla="*/ 2147483647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0 w 2"/>
              <a:gd name="T25" fmla="*/ 2147483647 h 2"/>
              <a:gd name="T26" fmla="*/ 0 w 2"/>
              <a:gd name="T27" fmla="*/ 2147483647 h 2"/>
              <a:gd name="T28" fmla="*/ 0 w 2"/>
              <a:gd name="T29" fmla="*/ 2147483647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2147483647 h 2"/>
              <a:gd name="T38" fmla="*/ 2147483647 w 2"/>
              <a:gd name="T39" fmla="*/ 2147483647 h 2"/>
              <a:gd name="T40" fmla="*/ 2147483647 w 2"/>
              <a:gd name="T41" fmla="*/ 2147483647 h 2"/>
              <a:gd name="T42" fmla="*/ 2147483647 w 2"/>
              <a:gd name="T43" fmla="*/ 2147483647 h 2"/>
              <a:gd name="T44" fmla="*/ 2147483647 w 2"/>
              <a:gd name="T45" fmla="*/ 2147483647 h 2"/>
              <a:gd name="T46" fmla="*/ 2147483647 w 2"/>
              <a:gd name="T47" fmla="*/ 2147483647 h 2"/>
              <a:gd name="T48" fmla="*/ 0 w 2"/>
              <a:gd name="T49" fmla="*/ 0 h 2"/>
              <a:gd name="T50" fmla="*/ 0 w 2"/>
              <a:gd name="T51" fmla="*/ 2147483647 h 2"/>
              <a:gd name="T52" fmla="*/ 0 w 2"/>
              <a:gd name="T53" fmla="*/ 2147483647 h 2"/>
              <a:gd name="T54" fmla="*/ 0 w 2"/>
              <a:gd name="T55" fmla="*/ 2147483647 h 2"/>
              <a:gd name="T56" fmla="*/ 2147483647 w 2"/>
              <a:gd name="T57" fmla="*/ 2147483647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6" name="Freeform 1246">
            <a:extLst>
              <a:ext uri="{FF2B5EF4-FFF2-40B4-BE49-F238E27FC236}">
                <a16:creationId xmlns:a16="http://schemas.microsoft.com/office/drawing/2014/main" id="{62B0D70F-3E1F-4084-B861-CC826250E997}"/>
              </a:ext>
            </a:extLst>
          </p:cNvPr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0 h 2"/>
              <a:gd name="T6" fmla="*/ 2147483647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2147483647 h 2"/>
              <a:gd name="T14" fmla="*/ 0 w 2"/>
              <a:gd name="T15" fmla="*/ 2147483647 h 2"/>
              <a:gd name="T16" fmla="*/ 2147483647 w 2"/>
              <a:gd name="T17" fmla="*/ 0 h 2"/>
              <a:gd name="T18" fmla="*/ 2147483647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2147483647 h 2"/>
              <a:gd name="T48" fmla="*/ 0 w 2"/>
              <a:gd name="T49" fmla="*/ 2147483647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7" name="Freeform 1250">
            <a:extLst>
              <a:ext uri="{FF2B5EF4-FFF2-40B4-BE49-F238E27FC236}">
                <a16:creationId xmlns:a16="http://schemas.microsoft.com/office/drawing/2014/main" id="{1E562536-1620-4CC1-B39B-60AF40D7BB6F}"/>
              </a:ext>
            </a:extLst>
          </p:cNvPr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>
              <a:gd name="T0" fmla="*/ 2147483647 w 2"/>
              <a:gd name="T1" fmla="*/ 0 h 1588"/>
              <a:gd name="T2" fmla="*/ 0 w 2"/>
              <a:gd name="T3" fmla="*/ 0 h 1588"/>
              <a:gd name="T4" fmla="*/ 2147483647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8" name="Freeform 1252">
            <a:extLst>
              <a:ext uri="{FF2B5EF4-FFF2-40B4-BE49-F238E27FC236}">
                <a16:creationId xmlns:a16="http://schemas.microsoft.com/office/drawing/2014/main" id="{A7953C10-A400-4069-BCDB-90B6F310B402}"/>
              </a:ext>
            </a:extLst>
          </p:cNvPr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>
              <a:gd name="T0" fmla="*/ 2147483647 w 2"/>
              <a:gd name="T1" fmla="*/ 2147483647 h 5"/>
              <a:gd name="T2" fmla="*/ 2147483647 w 2"/>
              <a:gd name="T3" fmla="*/ 2147483647 h 5"/>
              <a:gd name="T4" fmla="*/ 0 w 2"/>
              <a:gd name="T5" fmla="*/ 0 h 5"/>
              <a:gd name="T6" fmla="*/ 0 w 2"/>
              <a:gd name="T7" fmla="*/ 2147483647 h 5"/>
              <a:gd name="T8" fmla="*/ 0 w 2"/>
              <a:gd name="T9" fmla="*/ 2147483647 h 5"/>
              <a:gd name="T10" fmla="*/ 2147483647 w 2"/>
              <a:gd name="T11" fmla="*/ 2147483647 h 5"/>
              <a:gd name="T12" fmla="*/ 2147483647 w 2"/>
              <a:gd name="T13" fmla="*/ 2147483647 h 5"/>
              <a:gd name="T14" fmla="*/ 2147483647 w 2"/>
              <a:gd name="T15" fmla="*/ 2147483647 h 5"/>
              <a:gd name="T16" fmla="*/ 0 w 2"/>
              <a:gd name="T17" fmla="*/ 0 h 5"/>
              <a:gd name="T18" fmla="*/ 0 w 2"/>
              <a:gd name="T19" fmla="*/ 2147483647 h 5"/>
              <a:gd name="T20" fmla="*/ 0 w 2"/>
              <a:gd name="T21" fmla="*/ 2147483647 h 5"/>
              <a:gd name="T22" fmla="*/ 2147483647 w 2"/>
              <a:gd name="T23" fmla="*/ 2147483647 h 5"/>
              <a:gd name="T24" fmla="*/ 2147483647 w 2"/>
              <a:gd name="T25" fmla="*/ 2147483647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9" name="Freeform 1255">
            <a:extLst>
              <a:ext uri="{FF2B5EF4-FFF2-40B4-BE49-F238E27FC236}">
                <a16:creationId xmlns:a16="http://schemas.microsoft.com/office/drawing/2014/main" id="{74316169-67AC-4346-80A0-45E5EF2F62DC}"/>
              </a:ext>
            </a:extLst>
          </p:cNvPr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2147483647 w 2"/>
              <a:gd name="T3" fmla="*/ 0 h 1587"/>
              <a:gd name="T4" fmla="*/ 2147483647 w 2"/>
              <a:gd name="T5" fmla="*/ 0 h 1587"/>
              <a:gd name="T6" fmla="*/ 2147483647 w 2"/>
              <a:gd name="T7" fmla="*/ 0 h 1587"/>
              <a:gd name="T8" fmla="*/ 2147483647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2147483647 w 2"/>
              <a:gd name="T19" fmla="*/ 0 h 1587"/>
              <a:gd name="T20" fmla="*/ 2147483647 w 2"/>
              <a:gd name="T21" fmla="*/ 0 h 1587"/>
              <a:gd name="T22" fmla="*/ 2147483647 w 2"/>
              <a:gd name="T23" fmla="*/ 0 h 1587"/>
              <a:gd name="T24" fmla="*/ 2147483647 w 2"/>
              <a:gd name="T25" fmla="*/ 0 h 1587"/>
              <a:gd name="T26" fmla="*/ 2147483647 w 2"/>
              <a:gd name="T27" fmla="*/ 0 h 1587"/>
              <a:gd name="T28" fmla="*/ 2147483647 w 2"/>
              <a:gd name="T29" fmla="*/ 0 h 1587"/>
              <a:gd name="T30" fmla="*/ 2147483647 w 2"/>
              <a:gd name="T31" fmla="*/ 0 h 1587"/>
              <a:gd name="T32" fmla="*/ 2147483647 w 2"/>
              <a:gd name="T33" fmla="*/ 0 h 1587"/>
              <a:gd name="T34" fmla="*/ 2147483647 w 2"/>
              <a:gd name="T35" fmla="*/ 0 h 1587"/>
              <a:gd name="T36" fmla="*/ 2147483647 w 2"/>
              <a:gd name="T37" fmla="*/ 0 h 1587"/>
              <a:gd name="T38" fmla="*/ 2147483647 w 2"/>
              <a:gd name="T39" fmla="*/ 0 h 1587"/>
              <a:gd name="T40" fmla="*/ 2147483647 w 2"/>
              <a:gd name="T41" fmla="*/ 0 h 1587"/>
              <a:gd name="T42" fmla="*/ 2147483647 w 2"/>
              <a:gd name="T43" fmla="*/ 0 h 1587"/>
              <a:gd name="T44" fmla="*/ 2147483647 w 2"/>
              <a:gd name="T45" fmla="*/ 0 h 1587"/>
              <a:gd name="T46" fmla="*/ 2147483647 w 2"/>
              <a:gd name="T47" fmla="*/ 0 h 1587"/>
              <a:gd name="T48" fmla="*/ 2147483647 w 2"/>
              <a:gd name="T49" fmla="*/ 0 h 1587"/>
              <a:gd name="T50" fmla="*/ 2147483647 w 2"/>
              <a:gd name="T51" fmla="*/ 0 h 1587"/>
              <a:gd name="T52" fmla="*/ 2147483647 w 2"/>
              <a:gd name="T53" fmla="*/ 0 h 1587"/>
              <a:gd name="T54" fmla="*/ 2147483647 w 2"/>
              <a:gd name="T55" fmla="*/ 0 h 1587"/>
              <a:gd name="T56" fmla="*/ 2147483647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0" name="Rectangle 1256">
            <a:extLst>
              <a:ext uri="{FF2B5EF4-FFF2-40B4-BE49-F238E27FC236}">
                <a16:creationId xmlns:a16="http://schemas.microsoft.com/office/drawing/2014/main" id="{71F8F222-321F-41BE-8A3F-98C830F64D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41" name="Freeform 1258">
            <a:extLst>
              <a:ext uri="{FF2B5EF4-FFF2-40B4-BE49-F238E27FC236}">
                <a16:creationId xmlns:a16="http://schemas.microsoft.com/office/drawing/2014/main" id="{4EA3C75F-7134-4B73-98F8-D138DEBD5F8B}"/>
              </a:ext>
            </a:extLst>
          </p:cNvPr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2" name="Freeform 1266">
            <a:extLst>
              <a:ext uri="{FF2B5EF4-FFF2-40B4-BE49-F238E27FC236}">
                <a16:creationId xmlns:a16="http://schemas.microsoft.com/office/drawing/2014/main" id="{3E4A7133-D396-4AD7-BD5C-42CF34176AF1}"/>
              </a:ext>
            </a:extLst>
          </p:cNvPr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3" name="Freeform 1269">
            <a:extLst>
              <a:ext uri="{FF2B5EF4-FFF2-40B4-BE49-F238E27FC236}">
                <a16:creationId xmlns:a16="http://schemas.microsoft.com/office/drawing/2014/main" id="{765E1B6F-25B2-4203-83E6-C59805B9C5F0}"/>
              </a:ext>
            </a:extLst>
          </p:cNvPr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>
              <a:gd name="T0" fmla="*/ 0 w 2"/>
              <a:gd name="T1" fmla="*/ 2147483647 h 3"/>
              <a:gd name="T2" fmla="*/ 2147483647 w 2"/>
              <a:gd name="T3" fmla="*/ 0 h 3"/>
              <a:gd name="T4" fmla="*/ 2147483647 w 2"/>
              <a:gd name="T5" fmla="*/ 0 h 3"/>
              <a:gd name="T6" fmla="*/ 2147483647 w 2"/>
              <a:gd name="T7" fmla="*/ 0 h 3"/>
              <a:gd name="T8" fmla="*/ 2147483647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2147483647 h 3"/>
              <a:gd name="T16" fmla="*/ 0 w 2"/>
              <a:gd name="T17" fmla="*/ 2147483647 h 3"/>
              <a:gd name="T18" fmla="*/ 2147483647 w 2"/>
              <a:gd name="T19" fmla="*/ 0 h 3"/>
              <a:gd name="T20" fmla="*/ 2147483647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2147483647 h 3"/>
              <a:gd name="T40" fmla="*/ 0 w 2"/>
              <a:gd name="T41" fmla="*/ 2147483647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4" name="Line 1270">
            <a:extLst>
              <a:ext uri="{FF2B5EF4-FFF2-40B4-BE49-F238E27FC236}">
                <a16:creationId xmlns:a16="http://schemas.microsoft.com/office/drawing/2014/main" id="{E613D3A9-A47D-4AE8-8BA0-3D244922D689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5" name="Line 1271">
            <a:extLst>
              <a:ext uri="{FF2B5EF4-FFF2-40B4-BE49-F238E27FC236}">
                <a16:creationId xmlns:a16="http://schemas.microsoft.com/office/drawing/2014/main" id="{4D8743BF-5717-4B66-B985-3937A1A11D4C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6" name="Rectangle 1272">
            <a:extLst>
              <a:ext uri="{FF2B5EF4-FFF2-40B4-BE49-F238E27FC236}">
                <a16:creationId xmlns:a16="http://schemas.microsoft.com/office/drawing/2014/main" id="{FD653BE8-74C7-4793-AF42-5A9B4CB8F4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47" name="Rectangle 1273">
            <a:extLst>
              <a:ext uri="{FF2B5EF4-FFF2-40B4-BE49-F238E27FC236}">
                <a16:creationId xmlns:a16="http://schemas.microsoft.com/office/drawing/2014/main" id="{1CB282A9-AB0A-4B0D-B679-D7DC6A9A15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48" name="Line 1274">
            <a:extLst>
              <a:ext uri="{FF2B5EF4-FFF2-40B4-BE49-F238E27FC236}">
                <a16:creationId xmlns:a16="http://schemas.microsoft.com/office/drawing/2014/main" id="{7FDD4138-258F-4B6C-B39B-CB29D3A27E62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" name="Line 1275">
            <a:extLst>
              <a:ext uri="{FF2B5EF4-FFF2-40B4-BE49-F238E27FC236}">
                <a16:creationId xmlns:a16="http://schemas.microsoft.com/office/drawing/2014/main" id="{E406F2F8-1C26-4939-9DF4-93F303EACDC2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0" name="Freeform 1277">
            <a:extLst>
              <a:ext uri="{FF2B5EF4-FFF2-40B4-BE49-F238E27FC236}">
                <a16:creationId xmlns:a16="http://schemas.microsoft.com/office/drawing/2014/main" id="{93349CA1-7328-48EE-8556-B292F5316599}"/>
              </a:ext>
            </a:extLst>
          </p:cNvPr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>
              <a:gd name="T0" fmla="*/ 0 w 1587"/>
              <a:gd name="T1" fmla="*/ 2147483647 h 2"/>
              <a:gd name="T2" fmla="*/ 0 w 1587"/>
              <a:gd name="T3" fmla="*/ 2147483647 h 2"/>
              <a:gd name="T4" fmla="*/ 0 w 1587"/>
              <a:gd name="T5" fmla="*/ 0 h 2"/>
              <a:gd name="T6" fmla="*/ 0 w 1587"/>
              <a:gd name="T7" fmla="*/ 2147483647 h 2"/>
              <a:gd name="T8" fmla="*/ 0 w 1587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1" name="Freeform 1287">
            <a:extLst>
              <a:ext uri="{FF2B5EF4-FFF2-40B4-BE49-F238E27FC236}">
                <a16:creationId xmlns:a16="http://schemas.microsoft.com/office/drawing/2014/main" id="{243A2CDF-1A9E-44C1-9A8E-26933612B46B}"/>
              </a:ext>
            </a:extLst>
          </p:cNvPr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2147483647 h 2"/>
              <a:gd name="T4" fmla="*/ 2147483647 w 2"/>
              <a:gd name="T5" fmla="*/ 2147483647 h 2"/>
              <a:gd name="T6" fmla="*/ 2147483647 w 2"/>
              <a:gd name="T7" fmla="*/ 2147483647 h 2"/>
              <a:gd name="T8" fmla="*/ 2147483647 w 2"/>
              <a:gd name="T9" fmla="*/ 2147483647 h 2"/>
              <a:gd name="T10" fmla="*/ 2147483647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2147483647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2147483647 w 2"/>
              <a:gd name="T25" fmla="*/ 2147483647 h 2"/>
              <a:gd name="T26" fmla="*/ 2147483647 w 2"/>
              <a:gd name="T27" fmla="*/ 2147483647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2" name="Freeform 1290">
            <a:extLst>
              <a:ext uri="{FF2B5EF4-FFF2-40B4-BE49-F238E27FC236}">
                <a16:creationId xmlns:a16="http://schemas.microsoft.com/office/drawing/2014/main" id="{9E2745E2-E57C-49B9-8A13-28C8DE111D7B}"/>
              </a:ext>
            </a:extLst>
          </p:cNvPr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2147483647 h 2"/>
              <a:gd name="T6" fmla="*/ 2147483647 w 2"/>
              <a:gd name="T7" fmla="*/ 2147483647 h 2"/>
              <a:gd name="T8" fmla="*/ 2147483647 w 2"/>
              <a:gd name="T9" fmla="*/ 2147483647 h 2"/>
              <a:gd name="T10" fmla="*/ 2147483647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2147483647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2147483647 h 2"/>
              <a:gd name="T50" fmla="*/ 2147483647 w 2"/>
              <a:gd name="T51" fmla="*/ 2147483647 h 2"/>
              <a:gd name="T52" fmla="*/ 2147483647 w 2"/>
              <a:gd name="T53" fmla="*/ 0 h 2"/>
              <a:gd name="T54" fmla="*/ 2147483647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2147483647 h 2"/>
              <a:gd name="T62" fmla="*/ 0 w 2"/>
              <a:gd name="T63" fmla="*/ 2147483647 h 2"/>
              <a:gd name="T64" fmla="*/ 2147483647 w 2"/>
              <a:gd name="T65" fmla="*/ 2147483647 h 2"/>
              <a:gd name="T66" fmla="*/ 2147483647 w 2"/>
              <a:gd name="T67" fmla="*/ 2147483647 h 2"/>
              <a:gd name="T68" fmla="*/ 0 w 2"/>
              <a:gd name="T69" fmla="*/ 2147483647 h 2"/>
              <a:gd name="T70" fmla="*/ 0 w 2"/>
              <a:gd name="T71" fmla="*/ 2147483647 h 2"/>
              <a:gd name="T72" fmla="*/ 0 w 2"/>
              <a:gd name="T73" fmla="*/ 2147483647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3" name="Rectangle 1335">
            <a:extLst>
              <a:ext uri="{FF2B5EF4-FFF2-40B4-BE49-F238E27FC236}">
                <a16:creationId xmlns:a16="http://schemas.microsoft.com/office/drawing/2014/main" id="{E86D7443-57D0-4BCD-AEC5-C3001C44DE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4" name="Rectangle 1336">
            <a:extLst>
              <a:ext uri="{FF2B5EF4-FFF2-40B4-BE49-F238E27FC236}">
                <a16:creationId xmlns:a16="http://schemas.microsoft.com/office/drawing/2014/main" id="{DBA0137C-CF52-41B7-B16D-E6CEB45E87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5" name="Rectangle 1337">
            <a:extLst>
              <a:ext uri="{FF2B5EF4-FFF2-40B4-BE49-F238E27FC236}">
                <a16:creationId xmlns:a16="http://schemas.microsoft.com/office/drawing/2014/main" id="{7935FE64-4D56-4F5F-BCCD-B1CD4AEAF5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6" name="Rectangle 1340">
            <a:extLst>
              <a:ext uri="{FF2B5EF4-FFF2-40B4-BE49-F238E27FC236}">
                <a16:creationId xmlns:a16="http://schemas.microsoft.com/office/drawing/2014/main" id="{221B4476-1E08-4644-9E70-282F88ED9A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7" name="Rectangle 1341">
            <a:extLst>
              <a:ext uri="{FF2B5EF4-FFF2-40B4-BE49-F238E27FC236}">
                <a16:creationId xmlns:a16="http://schemas.microsoft.com/office/drawing/2014/main" id="{5CE4AD47-E95F-484C-8383-B20548A028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8" name="Rectangle 1342">
            <a:extLst>
              <a:ext uri="{FF2B5EF4-FFF2-40B4-BE49-F238E27FC236}">
                <a16:creationId xmlns:a16="http://schemas.microsoft.com/office/drawing/2014/main" id="{C1003F0D-BDEC-4549-8A4E-31B1900AA1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9" name="Rectangle 1343">
            <a:extLst>
              <a:ext uri="{FF2B5EF4-FFF2-40B4-BE49-F238E27FC236}">
                <a16:creationId xmlns:a16="http://schemas.microsoft.com/office/drawing/2014/main" id="{4A9A9D02-D19B-4622-ABE8-8DA40E854F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60" name="Rectangle 1344">
            <a:extLst>
              <a:ext uri="{FF2B5EF4-FFF2-40B4-BE49-F238E27FC236}">
                <a16:creationId xmlns:a16="http://schemas.microsoft.com/office/drawing/2014/main" id="{B57CA1B4-B092-4016-83B4-589BAE3561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61" name="Rectangle 67">
            <a:extLst>
              <a:ext uri="{FF2B5EF4-FFF2-40B4-BE49-F238E27FC236}">
                <a16:creationId xmlns:a16="http://schemas.microsoft.com/office/drawing/2014/main" id="{EFA6E290-CA5B-424A-9E11-7A5992CD75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2828925"/>
            <a:ext cx="9144000" cy="176213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solidFill>
                <a:schemeClr val="bg1"/>
              </a:solidFill>
              <a:cs typeface="+mn-cs"/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865910" y="1306550"/>
            <a:ext cx="7296726" cy="1450437"/>
          </a:xfrm>
        </p:spPr>
        <p:txBody>
          <a:bodyPr/>
          <a:lstStyle>
            <a:lvl1pPr>
              <a:defRPr sz="3800" b="1" cap="none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851104" y="3074088"/>
            <a:ext cx="7328771" cy="239749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3000" b="0" i="0" cap="none" baseline="0">
                <a:solidFill>
                  <a:schemeClr val="tx1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20625988"/>
      </p:ext>
    </p:extLst>
  </p:cSld>
  <p:clrMapOvr>
    <a:masterClrMapping/>
  </p:clrMapOvr>
  <p:hf hdr="0" dt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3" y="288636"/>
            <a:ext cx="8533067" cy="461819"/>
          </a:xfrm>
        </p:spPr>
        <p:txBody>
          <a:bodyPr/>
          <a:lstStyle>
            <a:lvl1pPr>
              <a:defRPr sz="2200" b="0" i="0" baseline="0">
                <a:solidFill>
                  <a:schemeClr val="tx1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3"/>
          </p:nvPr>
        </p:nvSpPr>
        <p:spPr>
          <a:xfrm>
            <a:off x="349779" y="968964"/>
            <a:ext cx="8529637" cy="5249906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</a:lstStyle>
          <a:p>
            <a:pPr lvl="0"/>
            <a:endParaRPr lang="en-US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080BBF-1130-492B-8345-858BE537FD8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fld id="{F998CC37-4E3F-4130-86BA-9F256AB0C0E3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64D53C-7535-4621-AFA7-7A0AA33DD89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3828316098"/>
      </p:ext>
    </p:extLst>
  </p:cSld>
  <p:clrMapOvr>
    <a:masterClrMapping/>
  </p:clrMapOvr>
  <p:hf hd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ark 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2DDCD659-8A1E-43D1-A303-AC7DA1BB421F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0" y="0"/>
            <a:ext cx="9144000" cy="4479925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578C439-90F1-4B6F-8D04-9B769F77E2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4302125"/>
            <a:ext cx="9144000" cy="176213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solidFill>
                <a:schemeClr val="bg1"/>
              </a:solidFill>
              <a:cs typeface="+mn-cs"/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1396005" y="1189789"/>
            <a:ext cx="7039470" cy="1822161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1408676" y="3000005"/>
            <a:ext cx="7026799" cy="121104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rgbClr val="FFFFFF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0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508000" y="4699001"/>
            <a:ext cx="5058833" cy="1375832"/>
          </a:xfrm>
          <a:solidFill>
            <a:srgbClr val="FFFFFF"/>
          </a:solidFill>
        </p:spPr>
        <p:txBody>
          <a:bodyPr anchor="ctr">
            <a:normAutofit/>
          </a:bodyPr>
          <a:lstStyle>
            <a:lvl1pPr algn="ctr">
              <a:defRPr baseline="0">
                <a:solidFill>
                  <a:srgbClr val="021F43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9" name="Text Placeholder 331"/>
          <p:cNvSpPr>
            <a:spLocks noGrp="1"/>
          </p:cNvSpPr>
          <p:nvPr>
            <p:ph type="body" sz="quarter" idx="14"/>
          </p:nvPr>
        </p:nvSpPr>
        <p:spPr>
          <a:xfrm>
            <a:off x="5682073" y="4699001"/>
            <a:ext cx="2821170" cy="1393637"/>
          </a:xfrm>
        </p:spPr>
        <p:txBody>
          <a:bodyPr anchor="b"/>
          <a:lstStyle>
            <a:lvl1pPr algn="r">
              <a:lnSpc>
                <a:spcPct val="100000"/>
              </a:lnSpc>
              <a:defRPr sz="1400" b="0" i="0" baseline="0">
                <a:solidFill>
                  <a:schemeClr val="tx1"/>
                </a:solidFill>
                <a:latin typeface="+mn-lt"/>
                <a:cs typeface="Arial"/>
              </a:defRPr>
            </a:lvl1pPr>
            <a:lvl2pPr algn="r">
              <a:defRPr sz="1400" b="0" i="0">
                <a:latin typeface="+mn-l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Rectangle 1028">
            <a:extLst>
              <a:ext uri="{FF2B5EF4-FFF2-40B4-BE49-F238E27FC236}">
                <a16:creationId xmlns:a16="http://schemas.microsoft.com/office/drawing/2014/main" id="{C5546F9E-B215-488B-83F5-D1F383644CC9}"/>
              </a:ext>
            </a:extLst>
          </p:cNvPr>
          <p:cNvSpPr>
            <a:spLocks noGrp="1" noChangeArrowheads="1"/>
          </p:cNvSpPr>
          <p:nvPr>
            <p:ph type="dt" sz="half" idx="17"/>
          </p:nvPr>
        </p:nvSpPr>
        <p:spPr>
          <a:xfrm>
            <a:off x="5716588" y="6116638"/>
            <a:ext cx="2719387" cy="306387"/>
          </a:xfrm>
        </p:spPr>
        <p:txBody>
          <a:bodyPr rIns="0" anchor="ctr"/>
          <a:lstStyle>
            <a:lvl1pPr algn="r">
              <a:defRPr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5986698"/>
      </p:ext>
    </p:extLst>
  </p:cSld>
  <p:clrMapOvr>
    <a:masterClrMapping/>
  </p:clrMapOvr>
  <p:hf hd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Short Title and 1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/>
          <p:cNvSpPr>
            <a:spLocks noGrp="1"/>
          </p:cNvSpPr>
          <p:nvPr>
            <p:ph idx="1" hasCustomPrompt="1"/>
          </p:nvPr>
        </p:nvSpPr>
        <p:spPr bwMode="blackWhite">
          <a:xfrm>
            <a:off x="415926" y="1819275"/>
            <a:ext cx="8315324" cy="4129086"/>
          </a:xfrm>
        </p:spPr>
        <p:txBody>
          <a:bodyPr lIns="143858" tIns="35961" rIns="143858"/>
          <a:lstStyle>
            <a:lvl1pPr marL="342553" indent="-342553">
              <a:buFont typeface="Arial" panose="020B0604020202020204" pitchFamily="34" charset="0"/>
              <a:buChar char="•"/>
              <a:defRPr sz="21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 bwMode="blackWhite">
          <a:xfrm>
            <a:off x="415925" y="1320800"/>
            <a:ext cx="8315325" cy="50165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3858" tIns="107896" rIns="143858" bIns="0" numCol="1" anchor="t" anchorCtr="0" compatLnSpc="1">
            <a:prstTxWarp prst="textNoShape">
              <a:avLst/>
            </a:prstTxWarp>
          </a:bodyPr>
          <a:lstStyle>
            <a:lvl1pPr>
              <a:defRPr lang="en-US" sz="2100" b="1" dirty="0" smtClean="0">
                <a:solidFill>
                  <a:srgbClr val="ECBED3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itle 3"/>
          <p:cNvSpPr>
            <a:spLocks noGrp="1"/>
          </p:cNvSpPr>
          <p:nvPr>
            <p:ph type="title" hasCustomPrompt="1"/>
          </p:nvPr>
        </p:nvSpPr>
        <p:spPr bwMode="blackWhite">
          <a:xfrm>
            <a:off x="414338" y="523875"/>
            <a:ext cx="8315325" cy="797611"/>
          </a:xfrm>
        </p:spPr>
        <p:txBody>
          <a:bodyPr anchor="ctr"/>
          <a:lstStyle>
            <a:lvl1pPr>
              <a:defRPr sz="2800"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short title tex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77033691"/>
      </p:ext>
    </p:extLst>
  </p:cSld>
  <p:clrMapOvr>
    <a:masterClrMapping/>
  </p:clrMapOvr>
  <p:hf hd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AA1929D-CE20-47EC-8C98-5D6929AF4F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4311650"/>
            <a:ext cx="9144000" cy="176213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solidFill>
                <a:schemeClr val="bg2"/>
              </a:solidFill>
              <a:cs typeface="+mn-cs"/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1512623" y="1189789"/>
            <a:ext cx="6971806" cy="1822161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1525172" y="3000005"/>
            <a:ext cx="6959257" cy="87588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chemeClr val="tx1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9" name="Text Placeholder 331"/>
          <p:cNvSpPr>
            <a:spLocks noGrp="1"/>
          </p:cNvSpPr>
          <p:nvPr>
            <p:ph type="body" sz="quarter" idx="14"/>
          </p:nvPr>
        </p:nvSpPr>
        <p:spPr>
          <a:xfrm>
            <a:off x="5682073" y="4699001"/>
            <a:ext cx="2821170" cy="1393637"/>
          </a:xfrm>
        </p:spPr>
        <p:txBody>
          <a:bodyPr anchor="b"/>
          <a:lstStyle>
            <a:lvl1pPr algn="r">
              <a:lnSpc>
                <a:spcPct val="100000"/>
              </a:lnSpc>
              <a:defRPr sz="1400" b="0" i="0" baseline="0">
                <a:solidFill>
                  <a:schemeClr val="tx1"/>
                </a:solidFill>
                <a:latin typeface="+mn-lt"/>
                <a:cs typeface="Arial"/>
              </a:defRPr>
            </a:lvl1pPr>
            <a:lvl2pPr algn="r">
              <a:defRPr sz="1400" b="0" i="0">
                <a:latin typeface="+mn-l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0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508000" y="4699001"/>
            <a:ext cx="5058833" cy="1375832"/>
          </a:xfrm>
          <a:solidFill>
            <a:srgbClr val="FFFFFF"/>
          </a:solidFill>
        </p:spPr>
        <p:txBody>
          <a:bodyPr anchor="ctr">
            <a:normAutofit/>
          </a:bodyPr>
          <a:lstStyle>
            <a:lvl1pPr algn="ctr">
              <a:defRPr baseline="0">
                <a:solidFill>
                  <a:srgbClr val="021F43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7" name="Rectangle 1028">
            <a:extLst>
              <a:ext uri="{FF2B5EF4-FFF2-40B4-BE49-F238E27FC236}">
                <a16:creationId xmlns:a16="http://schemas.microsoft.com/office/drawing/2014/main" id="{9C126BA2-3BAB-4373-AE35-894C1318315B}"/>
              </a:ext>
            </a:extLst>
          </p:cNvPr>
          <p:cNvSpPr>
            <a:spLocks noGrp="1" noChangeArrowheads="1"/>
          </p:cNvSpPr>
          <p:nvPr>
            <p:ph type="dt" sz="half" idx="17"/>
          </p:nvPr>
        </p:nvSpPr>
        <p:spPr>
          <a:xfrm>
            <a:off x="5942013" y="6107113"/>
            <a:ext cx="2551112" cy="306387"/>
          </a:xfrm>
        </p:spPr>
        <p:txBody>
          <a:bodyPr rIns="0" anchor="ctr"/>
          <a:lstStyle>
            <a:lvl1pPr algn="r">
              <a:defRPr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0978242"/>
      </p:ext>
    </p:extLst>
  </p:cSld>
  <p:clrMapOvr>
    <a:masterClrMapping/>
  </p:clrMapOvr>
  <p:hf hd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8D13FE4-A4BC-4B02-AF9A-61027DA751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3507513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26" imgH="526" progId="TCLayout.ActiveDocument.1">
                  <p:embed/>
                </p:oleObj>
              </mc:Choice>
              <mc:Fallback>
                <p:oleObj name="think-cell Slide" r:id="rId4" imgW="526" imgH="52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8D13FE4-A4BC-4B02-AF9A-61027DA751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939C2AE-0220-49D4-A4B5-3D6E38616A4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3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171450" indent="-171450">
              <a:buFont typeface="Arial" charset="0"/>
              <a:buChar char="•"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86800" y="6356351"/>
            <a:ext cx="457200" cy="365125"/>
          </a:xfrm>
        </p:spPr>
        <p:txBody>
          <a:bodyPr/>
          <a:lstStyle>
            <a:lvl1pPr algn="ctr">
              <a:defRPr/>
            </a:lvl1pPr>
          </a:lstStyle>
          <a:p>
            <a:fld id="{7F143DD0-D33F-F74D-AC0D-D3F4FD97373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A228FF7-A1BE-4F27-ADCB-1C1C826ED9E2}" type="datetime1">
              <a:rPr lang="en-US" smtClean="0"/>
              <a:t>4/28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37639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682">
            <a:extLst>
              <a:ext uri="{FF2B5EF4-FFF2-40B4-BE49-F238E27FC236}">
                <a16:creationId xmlns:a16="http://schemas.microsoft.com/office/drawing/2014/main" id="{BF74A5D1-E605-4D81-90FE-6F2B13C01768}"/>
              </a:ext>
            </a:extLst>
          </p:cNvPr>
          <p:cNvSpPr>
            <a:spLocks/>
          </p:cNvSpPr>
          <p:nvPr/>
        </p:nvSpPr>
        <p:spPr bwMode="auto">
          <a:xfrm flipH="1">
            <a:off x="6380163" y="615950"/>
            <a:ext cx="1014412" cy="1895475"/>
          </a:xfrm>
          <a:custGeom>
            <a:avLst/>
            <a:gdLst>
              <a:gd name="T0" fmla="*/ 0 w 638"/>
              <a:gd name="T1" fmla="*/ 0 h 1194"/>
              <a:gd name="T2" fmla="*/ 2147483647 w 638"/>
              <a:gd name="T3" fmla="*/ 2147483647 h 1194"/>
              <a:gd name="T4" fmla="*/ 2147483647 w 638"/>
              <a:gd name="T5" fmla="*/ 2147483647 h 1194"/>
              <a:gd name="T6" fmla="*/ 2147483647 w 638"/>
              <a:gd name="T7" fmla="*/ 2147483647 h 1194"/>
              <a:gd name="T8" fmla="*/ 2147483647 w 638"/>
              <a:gd name="T9" fmla="*/ 2147483647 h 1194"/>
              <a:gd name="T10" fmla="*/ 2147483647 w 638"/>
              <a:gd name="T11" fmla="*/ 2147483647 h 1194"/>
              <a:gd name="T12" fmla="*/ 2147483647 w 638"/>
              <a:gd name="T13" fmla="*/ 2147483647 h 1194"/>
              <a:gd name="T14" fmla="*/ 2147483647 w 638"/>
              <a:gd name="T15" fmla="*/ 2147483647 h 1194"/>
              <a:gd name="T16" fmla="*/ 2147483647 w 638"/>
              <a:gd name="T17" fmla="*/ 2147483647 h 1194"/>
              <a:gd name="T18" fmla="*/ 2147483647 w 638"/>
              <a:gd name="T19" fmla="*/ 2147483647 h 1194"/>
              <a:gd name="T20" fmla="*/ 2147483647 w 638"/>
              <a:gd name="T21" fmla="*/ 2147483647 h 1194"/>
              <a:gd name="T22" fmla="*/ 2147483647 w 638"/>
              <a:gd name="T23" fmla="*/ 2147483647 h 1194"/>
              <a:gd name="T24" fmla="*/ 2147483647 w 638"/>
              <a:gd name="T25" fmla="*/ 2147483647 h 1194"/>
              <a:gd name="T26" fmla="*/ 2147483647 w 638"/>
              <a:gd name="T27" fmla="*/ 2147483647 h 1194"/>
              <a:gd name="T28" fmla="*/ 2147483647 w 638"/>
              <a:gd name="T29" fmla="*/ 2147483647 h 1194"/>
              <a:gd name="T30" fmla="*/ 2147483647 w 638"/>
              <a:gd name="T31" fmla="*/ 2147483647 h 1194"/>
              <a:gd name="T32" fmla="*/ 2147483647 w 638"/>
              <a:gd name="T33" fmla="*/ 2147483647 h 1194"/>
              <a:gd name="T34" fmla="*/ 2147483647 w 638"/>
              <a:gd name="T35" fmla="*/ 2147483647 h 1194"/>
              <a:gd name="T36" fmla="*/ 2147483647 w 638"/>
              <a:gd name="T37" fmla="*/ 2147483647 h 1194"/>
              <a:gd name="T38" fmla="*/ 2147483647 w 638"/>
              <a:gd name="T39" fmla="*/ 2147483647 h 1194"/>
              <a:gd name="T40" fmla="*/ 2147483647 w 638"/>
              <a:gd name="T41" fmla="*/ 2147483647 h 1194"/>
              <a:gd name="T42" fmla="*/ 2147483647 w 638"/>
              <a:gd name="T43" fmla="*/ 2147483647 h 1194"/>
              <a:gd name="T44" fmla="*/ 2147483647 w 638"/>
              <a:gd name="T45" fmla="*/ 2147483647 h 1194"/>
              <a:gd name="T46" fmla="*/ 2147483647 w 638"/>
              <a:gd name="T47" fmla="*/ 2147483647 h 1194"/>
              <a:gd name="T48" fmla="*/ 2147483647 w 638"/>
              <a:gd name="T49" fmla="*/ 2147483647 h 1194"/>
              <a:gd name="T50" fmla="*/ 2147483647 w 638"/>
              <a:gd name="T51" fmla="*/ 2147483647 h 1194"/>
              <a:gd name="T52" fmla="*/ 2147483647 w 638"/>
              <a:gd name="T53" fmla="*/ 2147483647 h 1194"/>
              <a:gd name="T54" fmla="*/ 2147483647 w 638"/>
              <a:gd name="T55" fmla="*/ 2147483647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5" name="Freeform 1683">
            <a:extLst>
              <a:ext uri="{FF2B5EF4-FFF2-40B4-BE49-F238E27FC236}">
                <a16:creationId xmlns:a16="http://schemas.microsoft.com/office/drawing/2014/main" id="{01DD12B7-C629-4976-9ACD-FCC70A055E13}"/>
              </a:ext>
            </a:extLst>
          </p:cNvPr>
          <p:cNvSpPr>
            <a:spLocks/>
          </p:cNvSpPr>
          <p:nvPr/>
        </p:nvSpPr>
        <p:spPr bwMode="auto">
          <a:xfrm flipH="1">
            <a:off x="7410450" y="3175"/>
            <a:ext cx="712788" cy="584200"/>
          </a:xfrm>
          <a:custGeom>
            <a:avLst/>
            <a:gdLst>
              <a:gd name="T0" fmla="*/ 2147483647 w 448"/>
              <a:gd name="T1" fmla="*/ 2147483647 h 372"/>
              <a:gd name="T2" fmla="*/ 2147483647 w 448"/>
              <a:gd name="T3" fmla="*/ 2147483647 h 372"/>
              <a:gd name="T4" fmla="*/ 2147483647 w 448"/>
              <a:gd name="T5" fmla="*/ 2147483647 h 372"/>
              <a:gd name="T6" fmla="*/ 2147483647 w 448"/>
              <a:gd name="T7" fmla="*/ 2147483647 h 372"/>
              <a:gd name="T8" fmla="*/ 2147483647 w 448"/>
              <a:gd name="T9" fmla="*/ 2147483647 h 372"/>
              <a:gd name="T10" fmla="*/ 2147483647 w 448"/>
              <a:gd name="T11" fmla="*/ 2147483647 h 372"/>
              <a:gd name="T12" fmla="*/ 0 w 448"/>
              <a:gd name="T13" fmla="*/ 0 h 372"/>
              <a:gd name="T14" fmla="*/ 2147483647 w 448"/>
              <a:gd name="T15" fmla="*/ 0 h 372"/>
              <a:gd name="T16" fmla="*/ 2147483647 w 448"/>
              <a:gd name="T17" fmla="*/ 2147483647 h 372"/>
              <a:gd name="T18" fmla="*/ 2147483647 w 448"/>
              <a:gd name="T19" fmla="*/ 2147483647 h 372"/>
              <a:gd name="T20" fmla="*/ 2147483647 w 448"/>
              <a:gd name="T21" fmla="*/ 2147483647 h 372"/>
              <a:gd name="T22" fmla="*/ 2147483647 w 448"/>
              <a:gd name="T23" fmla="*/ 2147483647 h 372"/>
              <a:gd name="T24" fmla="*/ 2147483647 w 448"/>
              <a:gd name="T25" fmla="*/ 2147483647 h 372"/>
              <a:gd name="T26" fmla="*/ 2147483647 w 448"/>
              <a:gd name="T27" fmla="*/ 2147483647 h 372"/>
              <a:gd name="T28" fmla="*/ 2147483647 w 448"/>
              <a:gd name="T29" fmla="*/ 2147483647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" name="Line 1086">
            <a:extLst>
              <a:ext uri="{FF2B5EF4-FFF2-40B4-BE49-F238E27FC236}">
                <a16:creationId xmlns:a16="http://schemas.microsoft.com/office/drawing/2014/main" id="{3E30CA1A-7957-46D7-B31E-09AAFC950C1B}"/>
              </a:ext>
            </a:extLst>
          </p:cNvPr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" name="Line 1087">
            <a:extLst>
              <a:ext uri="{FF2B5EF4-FFF2-40B4-BE49-F238E27FC236}">
                <a16:creationId xmlns:a16="http://schemas.microsoft.com/office/drawing/2014/main" id="{904A2B60-F521-4AE2-99A1-DA654C4BCDD2}"/>
              </a:ext>
            </a:extLst>
          </p:cNvPr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" name="Rectangle 1088">
            <a:extLst>
              <a:ext uri="{FF2B5EF4-FFF2-40B4-BE49-F238E27FC236}">
                <a16:creationId xmlns:a16="http://schemas.microsoft.com/office/drawing/2014/main" id="{B7873832-0F8E-447A-AB27-F36C306C71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9" name="Rectangle 1089">
            <a:extLst>
              <a:ext uri="{FF2B5EF4-FFF2-40B4-BE49-F238E27FC236}">
                <a16:creationId xmlns:a16="http://schemas.microsoft.com/office/drawing/2014/main" id="{034F07D4-7F88-4A9D-8194-9A2627189D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10" name="Freeform 1098">
            <a:extLst>
              <a:ext uri="{FF2B5EF4-FFF2-40B4-BE49-F238E27FC236}">
                <a16:creationId xmlns:a16="http://schemas.microsoft.com/office/drawing/2014/main" id="{D443818B-EB90-429C-948F-0D1F35A9ECF2}"/>
              </a:ext>
            </a:extLst>
          </p:cNvPr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>
              <a:gd name="T0" fmla="*/ 0 w 2"/>
              <a:gd name="T1" fmla="*/ 0 h 1587"/>
              <a:gd name="T2" fmla="*/ 2147483647 w 2"/>
              <a:gd name="T3" fmla="*/ 0 h 1587"/>
              <a:gd name="T4" fmla="*/ 2147483647 w 2"/>
              <a:gd name="T5" fmla="*/ 0 h 1587"/>
              <a:gd name="T6" fmla="*/ 2147483647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2147483647 w 2"/>
              <a:gd name="T35" fmla="*/ 0 h 1587"/>
              <a:gd name="T36" fmla="*/ 2147483647 w 2"/>
              <a:gd name="T37" fmla="*/ 0 h 1587"/>
              <a:gd name="T38" fmla="*/ 2147483647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" name="Freeform 1115">
            <a:extLst>
              <a:ext uri="{FF2B5EF4-FFF2-40B4-BE49-F238E27FC236}">
                <a16:creationId xmlns:a16="http://schemas.microsoft.com/office/drawing/2014/main" id="{0736BF39-5F17-45F3-89DB-06D3A38FEEFA}"/>
              </a:ext>
            </a:extLst>
          </p:cNvPr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0 w 2"/>
              <a:gd name="T5" fmla="*/ 2147483647 h 2"/>
              <a:gd name="T6" fmla="*/ 0 w 2"/>
              <a:gd name="T7" fmla="*/ 2147483647 h 2"/>
              <a:gd name="T8" fmla="*/ 0 w 2"/>
              <a:gd name="T9" fmla="*/ 2147483647 h 2"/>
              <a:gd name="T10" fmla="*/ 0 w 2"/>
              <a:gd name="T11" fmla="*/ 2147483647 h 2"/>
              <a:gd name="T12" fmla="*/ 2147483647 w 2"/>
              <a:gd name="T13" fmla="*/ 2147483647 h 2"/>
              <a:gd name="T14" fmla="*/ 2147483647 w 2"/>
              <a:gd name="T15" fmla="*/ 2147483647 h 2"/>
              <a:gd name="T16" fmla="*/ 2147483647 w 2"/>
              <a:gd name="T17" fmla="*/ 0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0 w 2"/>
              <a:gd name="T25" fmla="*/ 2147483647 h 2"/>
              <a:gd name="T26" fmla="*/ 0 w 2"/>
              <a:gd name="T27" fmla="*/ 2147483647 h 2"/>
              <a:gd name="T28" fmla="*/ 2147483647 w 2"/>
              <a:gd name="T29" fmla="*/ 2147483647 h 2"/>
              <a:gd name="T30" fmla="*/ 2147483647 w 2"/>
              <a:gd name="T31" fmla="*/ 2147483647 h 2"/>
              <a:gd name="T32" fmla="*/ 2147483647 w 2"/>
              <a:gd name="T33" fmla="*/ 2147483647 h 2"/>
              <a:gd name="T34" fmla="*/ 2147483647 w 2"/>
              <a:gd name="T35" fmla="*/ 2147483647 h 2"/>
              <a:gd name="T36" fmla="*/ 2147483647 w 2"/>
              <a:gd name="T37" fmla="*/ 2147483647 h 2"/>
              <a:gd name="T38" fmla="*/ 2147483647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0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0 w 2"/>
              <a:gd name="T53" fmla="*/ 2147483647 h 2"/>
              <a:gd name="T54" fmla="*/ 2147483647 w 2"/>
              <a:gd name="T55" fmla="*/ 2147483647 h 2"/>
              <a:gd name="T56" fmla="*/ 0 w 2"/>
              <a:gd name="T57" fmla="*/ 2147483647 h 2"/>
              <a:gd name="T58" fmla="*/ 2147483647 w 2"/>
              <a:gd name="T59" fmla="*/ 2147483647 h 2"/>
              <a:gd name="T60" fmla="*/ 2147483647 w 2"/>
              <a:gd name="T61" fmla="*/ 2147483647 h 2"/>
              <a:gd name="T62" fmla="*/ 2147483647 w 2"/>
              <a:gd name="T63" fmla="*/ 2147483647 h 2"/>
              <a:gd name="T64" fmla="*/ 0 w 2"/>
              <a:gd name="T65" fmla="*/ 2147483647 h 2"/>
              <a:gd name="T66" fmla="*/ 0 w 2"/>
              <a:gd name="T67" fmla="*/ 2147483647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" name="Freeform 1120">
            <a:extLst>
              <a:ext uri="{FF2B5EF4-FFF2-40B4-BE49-F238E27FC236}">
                <a16:creationId xmlns:a16="http://schemas.microsoft.com/office/drawing/2014/main" id="{F965DA1C-EC49-4EEB-B4D2-557F31BE71AC}"/>
              </a:ext>
            </a:extLst>
          </p:cNvPr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2147483647 h 2"/>
              <a:gd name="T4" fmla="*/ 0 w 2"/>
              <a:gd name="T5" fmla="*/ 2147483647 h 2"/>
              <a:gd name="T6" fmla="*/ 0 w 2"/>
              <a:gd name="T7" fmla="*/ 2147483647 h 2"/>
              <a:gd name="T8" fmla="*/ 2147483647 w 2"/>
              <a:gd name="T9" fmla="*/ 2147483647 h 2"/>
              <a:gd name="T10" fmla="*/ 2147483647 w 2"/>
              <a:gd name="T11" fmla="*/ 0 h 2"/>
              <a:gd name="T12" fmla="*/ 2147483647 w 2"/>
              <a:gd name="T13" fmla="*/ 0 h 2"/>
              <a:gd name="T14" fmla="*/ 2147483647 w 2"/>
              <a:gd name="T15" fmla="*/ 0 h 2"/>
              <a:gd name="T16" fmla="*/ 0 w 2"/>
              <a:gd name="T17" fmla="*/ 0 h 2"/>
              <a:gd name="T18" fmla="*/ 0 w 2"/>
              <a:gd name="T19" fmla="*/ 2147483647 h 2"/>
              <a:gd name="T20" fmla="*/ 0 w 2"/>
              <a:gd name="T21" fmla="*/ 2147483647 h 2"/>
              <a:gd name="T22" fmla="*/ 2147483647 w 2"/>
              <a:gd name="T23" fmla="*/ 0 h 2"/>
              <a:gd name="T24" fmla="*/ 2147483647 w 2"/>
              <a:gd name="T25" fmla="*/ 0 h 2"/>
              <a:gd name="T26" fmla="*/ 2147483647 w 2"/>
              <a:gd name="T27" fmla="*/ 0 h 2"/>
              <a:gd name="T28" fmla="*/ 2147483647 w 2"/>
              <a:gd name="T29" fmla="*/ 2147483647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2147483647 h 2"/>
              <a:gd name="T38" fmla="*/ 0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2147483647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2147483647 w 2"/>
              <a:gd name="T53" fmla="*/ 2147483647 h 2"/>
              <a:gd name="T54" fmla="*/ 2147483647 w 2"/>
              <a:gd name="T55" fmla="*/ 2147483647 h 2"/>
              <a:gd name="T56" fmla="*/ 2147483647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3" name="Freeform 1134">
            <a:extLst>
              <a:ext uri="{FF2B5EF4-FFF2-40B4-BE49-F238E27FC236}">
                <a16:creationId xmlns:a16="http://schemas.microsoft.com/office/drawing/2014/main" id="{D080D1D2-0FD4-4749-86F5-4CFA990E6F0F}"/>
              </a:ext>
            </a:extLst>
          </p:cNvPr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>
              <a:gd name="T0" fmla="*/ 2147483647 w 2"/>
              <a:gd name="T1" fmla="*/ 2147483647 h 4"/>
              <a:gd name="T2" fmla="*/ 2147483647 w 2"/>
              <a:gd name="T3" fmla="*/ 2147483647 h 4"/>
              <a:gd name="T4" fmla="*/ 2147483647 w 2"/>
              <a:gd name="T5" fmla="*/ 2147483647 h 4"/>
              <a:gd name="T6" fmla="*/ 2147483647 w 2"/>
              <a:gd name="T7" fmla="*/ 2147483647 h 4"/>
              <a:gd name="T8" fmla="*/ 2147483647 w 2"/>
              <a:gd name="T9" fmla="*/ 0 h 4"/>
              <a:gd name="T10" fmla="*/ 2147483647 w 2"/>
              <a:gd name="T11" fmla="*/ 0 h 4"/>
              <a:gd name="T12" fmla="*/ 2147483647 w 2"/>
              <a:gd name="T13" fmla="*/ 0 h 4"/>
              <a:gd name="T14" fmla="*/ 0 w 2"/>
              <a:gd name="T15" fmla="*/ 2147483647 h 4"/>
              <a:gd name="T16" fmla="*/ 2147483647 w 2"/>
              <a:gd name="T17" fmla="*/ 2147483647 h 4"/>
              <a:gd name="T18" fmla="*/ 2147483647 w 2"/>
              <a:gd name="T19" fmla="*/ 2147483647 h 4"/>
              <a:gd name="T20" fmla="*/ 2147483647 w 2"/>
              <a:gd name="T21" fmla="*/ 2147483647 h 4"/>
              <a:gd name="T22" fmla="*/ 2147483647 w 2"/>
              <a:gd name="T23" fmla="*/ 0 h 4"/>
              <a:gd name="T24" fmla="*/ 2147483647 w 2"/>
              <a:gd name="T25" fmla="*/ 2147483647 h 4"/>
              <a:gd name="T26" fmla="*/ 2147483647 w 2"/>
              <a:gd name="T27" fmla="*/ 2147483647 h 4"/>
              <a:gd name="T28" fmla="*/ 2147483647 w 2"/>
              <a:gd name="T29" fmla="*/ 2147483647 h 4"/>
              <a:gd name="T30" fmla="*/ 2147483647 w 2"/>
              <a:gd name="T31" fmla="*/ 2147483647 h 4"/>
              <a:gd name="T32" fmla="*/ 2147483647 w 2"/>
              <a:gd name="T33" fmla="*/ 2147483647 h 4"/>
              <a:gd name="T34" fmla="*/ 2147483647 w 2"/>
              <a:gd name="T35" fmla="*/ 2147483647 h 4"/>
              <a:gd name="T36" fmla="*/ 2147483647 w 2"/>
              <a:gd name="T37" fmla="*/ 2147483647 h 4"/>
              <a:gd name="T38" fmla="*/ 2147483647 w 2"/>
              <a:gd name="T39" fmla="*/ 2147483647 h 4"/>
              <a:gd name="T40" fmla="*/ 2147483647 w 2"/>
              <a:gd name="T41" fmla="*/ 2147483647 h 4"/>
              <a:gd name="T42" fmla="*/ 2147483647 w 2"/>
              <a:gd name="T43" fmla="*/ 2147483647 h 4"/>
              <a:gd name="T44" fmla="*/ 2147483647 w 2"/>
              <a:gd name="T45" fmla="*/ 2147483647 h 4"/>
              <a:gd name="T46" fmla="*/ 2147483647 w 2"/>
              <a:gd name="T47" fmla="*/ 2147483647 h 4"/>
              <a:gd name="T48" fmla="*/ 2147483647 w 2"/>
              <a:gd name="T49" fmla="*/ 2147483647 h 4"/>
              <a:gd name="T50" fmla="*/ 2147483647 w 2"/>
              <a:gd name="T51" fmla="*/ 2147483647 h 4"/>
              <a:gd name="T52" fmla="*/ 0 w 2"/>
              <a:gd name="T53" fmla="*/ 2147483647 h 4"/>
              <a:gd name="T54" fmla="*/ 2147483647 w 2"/>
              <a:gd name="T55" fmla="*/ 2147483647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4" name="Freeform 1141">
            <a:extLst>
              <a:ext uri="{FF2B5EF4-FFF2-40B4-BE49-F238E27FC236}">
                <a16:creationId xmlns:a16="http://schemas.microsoft.com/office/drawing/2014/main" id="{1F81CC65-6C01-4E10-AB84-637D422009A7}"/>
              </a:ext>
            </a:extLst>
          </p:cNvPr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>
              <a:gd name="T0" fmla="*/ 0 w 1587"/>
              <a:gd name="T1" fmla="*/ 2147483647 h 4"/>
              <a:gd name="T2" fmla="*/ 0 w 1587"/>
              <a:gd name="T3" fmla="*/ 2147483647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2147483647 h 4"/>
              <a:gd name="T10" fmla="*/ 0 w 1587"/>
              <a:gd name="T11" fmla="*/ 2147483647 h 4"/>
              <a:gd name="T12" fmla="*/ 0 w 1587"/>
              <a:gd name="T13" fmla="*/ 2147483647 h 4"/>
              <a:gd name="T14" fmla="*/ 0 w 1587"/>
              <a:gd name="T15" fmla="*/ 2147483647 h 4"/>
              <a:gd name="T16" fmla="*/ 0 w 1587"/>
              <a:gd name="T17" fmla="*/ 2147483647 h 4"/>
              <a:gd name="T18" fmla="*/ 0 w 1587"/>
              <a:gd name="T19" fmla="*/ 2147483647 h 4"/>
              <a:gd name="T20" fmla="*/ 0 w 1587"/>
              <a:gd name="T21" fmla="*/ 2147483647 h 4"/>
              <a:gd name="T22" fmla="*/ 0 w 1587"/>
              <a:gd name="T23" fmla="*/ 2147483647 h 4"/>
              <a:gd name="T24" fmla="*/ 0 w 1587"/>
              <a:gd name="T25" fmla="*/ 2147483647 h 4"/>
              <a:gd name="T26" fmla="*/ 0 w 1587"/>
              <a:gd name="T27" fmla="*/ 2147483647 h 4"/>
              <a:gd name="T28" fmla="*/ 0 w 1587"/>
              <a:gd name="T29" fmla="*/ 2147483647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5" name="Freeform 1148">
            <a:extLst>
              <a:ext uri="{FF2B5EF4-FFF2-40B4-BE49-F238E27FC236}">
                <a16:creationId xmlns:a16="http://schemas.microsoft.com/office/drawing/2014/main" id="{27BACB60-EACB-48D7-A438-A599CDBA9BF7}"/>
              </a:ext>
            </a:extLst>
          </p:cNvPr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>
              <a:gd name="T0" fmla="*/ 2147483647 w 2"/>
              <a:gd name="T1" fmla="*/ 2147483647 h 2"/>
              <a:gd name="T2" fmla="*/ 2147483647 w 2"/>
              <a:gd name="T3" fmla="*/ 0 h 2"/>
              <a:gd name="T4" fmla="*/ 2147483647 w 2"/>
              <a:gd name="T5" fmla="*/ 0 h 2"/>
              <a:gd name="T6" fmla="*/ 2147483647 w 2"/>
              <a:gd name="T7" fmla="*/ 0 h 2"/>
              <a:gd name="T8" fmla="*/ 2147483647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2147483647 h 2"/>
              <a:gd name="T16" fmla="*/ 0 w 2"/>
              <a:gd name="T17" fmla="*/ 2147483647 h 2"/>
              <a:gd name="T18" fmla="*/ 0 w 2"/>
              <a:gd name="T19" fmla="*/ 2147483647 h 2"/>
              <a:gd name="T20" fmla="*/ 2147483647 w 2"/>
              <a:gd name="T21" fmla="*/ 2147483647 h 2"/>
              <a:gd name="T22" fmla="*/ 2147483647 w 2"/>
              <a:gd name="T23" fmla="*/ 2147483647 h 2"/>
              <a:gd name="T24" fmla="*/ 2147483647 w 2"/>
              <a:gd name="T25" fmla="*/ 0 h 2"/>
              <a:gd name="T26" fmla="*/ 2147483647 w 2"/>
              <a:gd name="T27" fmla="*/ 0 h 2"/>
              <a:gd name="T28" fmla="*/ 2147483647 w 2"/>
              <a:gd name="T29" fmla="*/ 0 h 2"/>
              <a:gd name="T30" fmla="*/ 0 w 2"/>
              <a:gd name="T31" fmla="*/ 2147483647 h 2"/>
              <a:gd name="T32" fmla="*/ 2147483647 w 2"/>
              <a:gd name="T33" fmla="*/ 2147483647 h 2"/>
              <a:gd name="T34" fmla="*/ 2147483647 w 2"/>
              <a:gd name="T35" fmla="*/ 0 h 2"/>
              <a:gd name="T36" fmla="*/ 0 w 2"/>
              <a:gd name="T37" fmla="*/ 2147483647 h 2"/>
              <a:gd name="T38" fmla="*/ 2147483647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0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0 w 2"/>
              <a:gd name="T53" fmla="*/ 2147483647 h 2"/>
              <a:gd name="T54" fmla="*/ 0 w 2"/>
              <a:gd name="T55" fmla="*/ 2147483647 h 2"/>
              <a:gd name="T56" fmla="*/ 0 w 2"/>
              <a:gd name="T57" fmla="*/ 2147483647 h 2"/>
              <a:gd name="T58" fmla="*/ 2147483647 w 2"/>
              <a:gd name="T59" fmla="*/ 2147483647 h 2"/>
              <a:gd name="T60" fmla="*/ 2147483647 w 2"/>
              <a:gd name="T61" fmla="*/ 2147483647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6" name="Freeform 1150">
            <a:extLst>
              <a:ext uri="{FF2B5EF4-FFF2-40B4-BE49-F238E27FC236}">
                <a16:creationId xmlns:a16="http://schemas.microsoft.com/office/drawing/2014/main" id="{4A5CBFD5-0D61-4DEA-8C98-52069A627B16}"/>
              </a:ext>
            </a:extLst>
          </p:cNvPr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>
              <a:gd name="T0" fmla="*/ 0 w 1587"/>
              <a:gd name="T1" fmla="*/ 2147483647 h 2"/>
              <a:gd name="T2" fmla="*/ 0 w 1587"/>
              <a:gd name="T3" fmla="*/ 0 h 2"/>
              <a:gd name="T4" fmla="*/ 0 w 1587"/>
              <a:gd name="T5" fmla="*/ 2147483647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7" name="Freeform 1152">
            <a:extLst>
              <a:ext uri="{FF2B5EF4-FFF2-40B4-BE49-F238E27FC236}">
                <a16:creationId xmlns:a16="http://schemas.microsoft.com/office/drawing/2014/main" id="{F9D75C7C-0F72-4947-A182-13BA599D38C8}"/>
              </a:ext>
            </a:extLst>
          </p:cNvPr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>
              <a:gd name="T0" fmla="*/ 2147483647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2147483647 h 2"/>
              <a:gd name="T10" fmla="*/ 2147483647 w 2"/>
              <a:gd name="T11" fmla="*/ 2147483647 h 2"/>
              <a:gd name="T12" fmla="*/ 2147483647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2147483647 h 2"/>
              <a:gd name="T22" fmla="*/ 2147483647 w 2"/>
              <a:gd name="T23" fmla="*/ 2147483647 h 2"/>
              <a:gd name="T24" fmla="*/ 2147483647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8" name="Freeform 1154">
            <a:extLst>
              <a:ext uri="{FF2B5EF4-FFF2-40B4-BE49-F238E27FC236}">
                <a16:creationId xmlns:a16="http://schemas.microsoft.com/office/drawing/2014/main" id="{C8EEFCC4-99FD-4FD2-8296-A4DAE6520EEA}"/>
              </a:ext>
            </a:extLst>
          </p:cNvPr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>
              <a:gd name="T0" fmla="*/ 2147483647 w 2"/>
              <a:gd name="T1" fmla="*/ 0 h 1588"/>
              <a:gd name="T2" fmla="*/ 0 w 2"/>
              <a:gd name="T3" fmla="*/ 0 h 1588"/>
              <a:gd name="T4" fmla="*/ 2147483647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9" name="Freeform 1156">
            <a:extLst>
              <a:ext uri="{FF2B5EF4-FFF2-40B4-BE49-F238E27FC236}">
                <a16:creationId xmlns:a16="http://schemas.microsoft.com/office/drawing/2014/main" id="{0E1EFA4F-C800-46CE-BF3D-53CFAB639FB4}"/>
              </a:ext>
            </a:extLst>
          </p:cNvPr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>
              <a:gd name="T0" fmla="*/ 2147483647 w 2"/>
              <a:gd name="T1" fmla="*/ 2147483647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2147483647 h 2"/>
              <a:gd name="T8" fmla="*/ 2147483647 w 2"/>
              <a:gd name="T9" fmla="*/ 2147483647 h 2"/>
              <a:gd name="T10" fmla="*/ 2147483647 w 2"/>
              <a:gd name="T11" fmla="*/ 2147483647 h 2"/>
              <a:gd name="T12" fmla="*/ 2147483647 w 2"/>
              <a:gd name="T13" fmla="*/ 2147483647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2147483647 h 2"/>
              <a:gd name="T20" fmla="*/ 2147483647 w 2"/>
              <a:gd name="T21" fmla="*/ 2147483647 h 2"/>
              <a:gd name="T22" fmla="*/ 2147483647 w 2"/>
              <a:gd name="T23" fmla="*/ 2147483647 h 2"/>
              <a:gd name="T24" fmla="*/ 2147483647 w 2"/>
              <a:gd name="T25" fmla="*/ 2147483647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" name="Freeform 1163">
            <a:extLst>
              <a:ext uri="{FF2B5EF4-FFF2-40B4-BE49-F238E27FC236}">
                <a16:creationId xmlns:a16="http://schemas.microsoft.com/office/drawing/2014/main" id="{D0BC8ED6-B24C-463E-B95C-91E670194707}"/>
              </a:ext>
            </a:extLst>
          </p:cNvPr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>
              <a:gd name="T0" fmla="*/ 2147483647 w 4"/>
              <a:gd name="T1" fmla="*/ 2147483647 h 2"/>
              <a:gd name="T2" fmla="*/ 2147483647 w 4"/>
              <a:gd name="T3" fmla="*/ 2147483647 h 2"/>
              <a:gd name="T4" fmla="*/ 2147483647 w 4"/>
              <a:gd name="T5" fmla="*/ 2147483647 h 2"/>
              <a:gd name="T6" fmla="*/ 2147483647 w 4"/>
              <a:gd name="T7" fmla="*/ 0 h 2"/>
              <a:gd name="T8" fmla="*/ 2147483647 w 4"/>
              <a:gd name="T9" fmla="*/ 0 h 2"/>
              <a:gd name="T10" fmla="*/ 2147483647 w 4"/>
              <a:gd name="T11" fmla="*/ 0 h 2"/>
              <a:gd name="T12" fmla="*/ 2147483647 w 4"/>
              <a:gd name="T13" fmla="*/ 0 h 2"/>
              <a:gd name="T14" fmla="*/ 0 w 4"/>
              <a:gd name="T15" fmla="*/ 2147483647 h 2"/>
              <a:gd name="T16" fmla="*/ 2147483647 w 4"/>
              <a:gd name="T17" fmla="*/ 2147483647 h 2"/>
              <a:gd name="T18" fmla="*/ 2147483647 w 4"/>
              <a:gd name="T19" fmla="*/ 0 h 2"/>
              <a:gd name="T20" fmla="*/ 2147483647 w 4"/>
              <a:gd name="T21" fmla="*/ 2147483647 h 2"/>
              <a:gd name="T22" fmla="*/ 2147483647 w 4"/>
              <a:gd name="T23" fmla="*/ 0 h 2"/>
              <a:gd name="T24" fmla="*/ 2147483647 w 4"/>
              <a:gd name="T25" fmla="*/ 0 h 2"/>
              <a:gd name="T26" fmla="*/ 2147483647 w 4"/>
              <a:gd name="T27" fmla="*/ 0 h 2"/>
              <a:gd name="T28" fmla="*/ 2147483647 w 4"/>
              <a:gd name="T29" fmla="*/ 0 h 2"/>
              <a:gd name="T30" fmla="*/ 0 w 4"/>
              <a:gd name="T31" fmla="*/ 0 h 2"/>
              <a:gd name="T32" fmla="*/ 2147483647 w 4"/>
              <a:gd name="T33" fmla="*/ 2147483647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" name="Freeform 1172">
            <a:extLst>
              <a:ext uri="{FF2B5EF4-FFF2-40B4-BE49-F238E27FC236}">
                <a16:creationId xmlns:a16="http://schemas.microsoft.com/office/drawing/2014/main" id="{752E1205-A3F1-46DF-9156-7ED9A56768E7}"/>
              </a:ext>
            </a:extLst>
          </p:cNvPr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2147483647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2147483647 h 2"/>
              <a:gd name="T14" fmla="*/ 0 w 2"/>
              <a:gd name="T15" fmla="*/ 2147483647 h 2"/>
              <a:gd name="T16" fmla="*/ 0 w 2"/>
              <a:gd name="T17" fmla="*/ 2147483647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0 w 2"/>
              <a:gd name="T25" fmla="*/ 2147483647 h 2"/>
              <a:gd name="T26" fmla="*/ 0 w 2"/>
              <a:gd name="T27" fmla="*/ 2147483647 h 2"/>
              <a:gd name="T28" fmla="*/ 0 w 2"/>
              <a:gd name="T29" fmla="*/ 2147483647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2147483647 h 2"/>
              <a:gd name="T38" fmla="*/ 0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0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0 w 2"/>
              <a:gd name="T53" fmla="*/ 2147483647 h 2"/>
              <a:gd name="T54" fmla="*/ 0 w 2"/>
              <a:gd name="T55" fmla="*/ 2147483647 h 2"/>
              <a:gd name="T56" fmla="*/ 0 w 2"/>
              <a:gd name="T57" fmla="*/ 2147483647 h 2"/>
              <a:gd name="T58" fmla="*/ 0 w 2"/>
              <a:gd name="T59" fmla="*/ 2147483647 h 2"/>
              <a:gd name="T60" fmla="*/ 0 w 2"/>
              <a:gd name="T61" fmla="*/ 2147483647 h 2"/>
              <a:gd name="T62" fmla="*/ 0 w 2"/>
              <a:gd name="T63" fmla="*/ 2147483647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" name="Freeform 1177">
            <a:extLst>
              <a:ext uri="{FF2B5EF4-FFF2-40B4-BE49-F238E27FC236}">
                <a16:creationId xmlns:a16="http://schemas.microsoft.com/office/drawing/2014/main" id="{D17374B4-476A-4218-A172-5B3617193BBC}"/>
              </a:ext>
            </a:extLst>
          </p:cNvPr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>
              <a:gd name="T0" fmla="*/ 0 w 2"/>
              <a:gd name="T1" fmla="*/ 2147483647 h 2"/>
              <a:gd name="T2" fmla="*/ 2147483647 w 2"/>
              <a:gd name="T3" fmla="*/ 2147483647 h 2"/>
              <a:gd name="T4" fmla="*/ 2147483647 w 2"/>
              <a:gd name="T5" fmla="*/ 2147483647 h 2"/>
              <a:gd name="T6" fmla="*/ 2147483647 w 2"/>
              <a:gd name="T7" fmla="*/ 0 h 2"/>
              <a:gd name="T8" fmla="*/ 2147483647 w 2"/>
              <a:gd name="T9" fmla="*/ 0 h 2"/>
              <a:gd name="T10" fmla="*/ 2147483647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2147483647 h 2"/>
              <a:gd name="T40" fmla="*/ 0 w 2"/>
              <a:gd name="T41" fmla="*/ 2147483647 h 2"/>
              <a:gd name="T42" fmla="*/ 2147483647 w 2"/>
              <a:gd name="T43" fmla="*/ 2147483647 h 2"/>
              <a:gd name="T44" fmla="*/ 2147483647 w 2"/>
              <a:gd name="T45" fmla="*/ 0 h 2"/>
              <a:gd name="T46" fmla="*/ 2147483647 w 2"/>
              <a:gd name="T47" fmla="*/ 0 h 2"/>
              <a:gd name="T48" fmla="*/ 2147483647 w 2"/>
              <a:gd name="T49" fmla="*/ 0 h 2"/>
              <a:gd name="T50" fmla="*/ 2147483647 w 2"/>
              <a:gd name="T51" fmla="*/ 0 h 2"/>
              <a:gd name="T52" fmla="*/ 2147483647 w 2"/>
              <a:gd name="T53" fmla="*/ 0 h 2"/>
              <a:gd name="T54" fmla="*/ 2147483647 w 2"/>
              <a:gd name="T55" fmla="*/ 0 h 2"/>
              <a:gd name="T56" fmla="*/ 2147483647 w 2"/>
              <a:gd name="T57" fmla="*/ 0 h 2"/>
              <a:gd name="T58" fmla="*/ 2147483647 w 2"/>
              <a:gd name="T59" fmla="*/ 0 h 2"/>
              <a:gd name="T60" fmla="*/ 2147483647 w 2"/>
              <a:gd name="T61" fmla="*/ 0 h 2"/>
              <a:gd name="T62" fmla="*/ 2147483647 w 2"/>
              <a:gd name="T63" fmla="*/ 0 h 2"/>
              <a:gd name="T64" fmla="*/ 2147483647 w 2"/>
              <a:gd name="T65" fmla="*/ 0 h 2"/>
              <a:gd name="T66" fmla="*/ 2147483647 w 2"/>
              <a:gd name="T67" fmla="*/ 2147483647 h 2"/>
              <a:gd name="T68" fmla="*/ 2147483647 w 2"/>
              <a:gd name="T69" fmla="*/ 0 h 2"/>
              <a:gd name="T70" fmla="*/ 2147483647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2147483647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" name="Freeform 1180">
            <a:extLst>
              <a:ext uri="{FF2B5EF4-FFF2-40B4-BE49-F238E27FC236}">
                <a16:creationId xmlns:a16="http://schemas.microsoft.com/office/drawing/2014/main" id="{9F028583-84F8-4EC3-AC24-F39C7F76394D}"/>
              </a:ext>
            </a:extLst>
          </p:cNvPr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>
              <a:gd name="T0" fmla="*/ 0 w 2"/>
              <a:gd name="T1" fmla="*/ 2147483647 h 3"/>
              <a:gd name="T2" fmla="*/ 0 w 2"/>
              <a:gd name="T3" fmla="*/ 2147483647 h 3"/>
              <a:gd name="T4" fmla="*/ 2147483647 w 2"/>
              <a:gd name="T5" fmla="*/ 2147483647 h 3"/>
              <a:gd name="T6" fmla="*/ 2147483647 w 2"/>
              <a:gd name="T7" fmla="*/ 2147483647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2147483647 h 3"/>
              <a:gd name="T16" fmla="*/ 0 w 2"/>
              <a:gd name="T17" fmla="*/ 2147483647 h 3"/>
              <a:gd name="T18" fmla="*/ 0 w 2"/>
              <a:gd name="T19" fmla="*/ 2147483647 h 3"/>
              <a:gd name="T20" fmla="*/ 0 w 2"/>
              <a:gd name="T21" fmla="*/ 2147483647 h 3"/>
              <a:gd name="T22" fmla="*/ 0 w 2"/>
              <a:gd name="T23" fmla="*/ 0 h 3"/>
              <a:gd name="T24" fmla="*/ 0 w 2"/>
              <a:gd name="T25" fmla="*/ 2147483647 h 3"/>
              <a:gd name="T26" fmla="*/ 0 w 2"/>
              <a:gd name="T27" fmla="*/ 2147483647 h 3"/>
              <a:gd name="T28" fmla="*/ 0 w 2"/>
              <a:gd name="T29" fmla="*/ 2147483647 h 3"/>
              <a:gd name="T30" fmla="*/ 0 w 2"/>
              <a:gd name="T31" fmla="*/ 2147483647 h 3"/>
              <a:gd name="T32" fmla="*/ 0 w 2"/>
              <a:gd name="T33" fmla="*/ 2147483647 h 3"/>
              <a:gd name="T34" fmla="*/ 0 w 2"/>
              <a:gd name="T35" fmla="*/ 2147483647 h 3"/>
              <a:gd name="T36" fmla="*/ 0 w 2"/>
              <a:gd name="T37" fmla="*/ 2147483647 h 3"/>
              <a:gd name="T38" fmla="*/ 0 w 2"/>
              <a:gd name="T39" fmla="*/ 2147483647 h 3"/>
              <a:gd name="T40" fmla="*/ 0 w 2"/>
              <a:gd name="T41" fmla="*/ 2147483647 h 3"/>
              <a:gd name="T42" fmla="*/ 0 w 2"/>
              <a:gd name="T43" fmla="*/ 2147483647 h 3"/>
              <a:gd name="T44" fmla="*/ 0 w 2"/>
              <a:gd name="T45" fmla="*/ 2147483647 h 3"/>
              <a:gd name="T46" fmla="*/ 0 w 2"/>
              <a:gd name="T47" fmla="*/ 2147483647 h 3"/>
              <a:gd name="T48" fmla="*/ 0 w 2"/>
              <a:gd name="T49" fmla="*/ 2147483647 h 3"/>
              <a:gd name="T50" fmla="*/ 0 w 2"/>
              <a:gd name="T51" fmla="*/ 2147483647 h 3"/>
              <a:gd name="T52" fmla="*/ 0 w 2"/>
              <a:gd name="T53" fmla="*/ 2147483647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" name="Line 1187">
            <a:extLst>
              <a:ext uri="{FF2B5EF4-FFF2-40B4-BE49-F238E27FC236}">
                <a16:creationId xmlns:a16="http://schemas.microsoft.com/office/drawing/2014/main" id="{7C3CC87D-A8F0-4BA1-8C1E-8ACD74D0A6A9}"/>
              </a:ext>
            </a:extLst>
          </p:cNvPr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" name="Line 1188">
            <a:extLst>
              <a:ext uri="{FF2B5EF4-FFF2-40B4-BE49-F238E27FC236}">
                <a16:creationId xmlns:a16="http://schemas.microsoft.com/office/drawing/2014/main" id="{40D36F21-63E6-4304-812E-5B2B6B9B48AC}"/>
              </a:ext>
            </a:extLst>
          </p:cNvPr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6" name="Freeform 1208">
            <a:extLst>
              <a:ext uri="{FF2B5EF4-FFF2-40B4-BE49-F238E27FC236}">
                <a16:creationId xmlns:a16="http://schemas.microsoft.com/office/drawing/2014/main" id="{5FCE5033-8E2A-466E-8E91-D921563B3D96}"/>
              </a:ext>
            </a:extLst>
          </p:cNvPr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7" name="Freeform 1210">
            <a:extLst>
              <a:ext uri="{FF2B5EF4-FFF2-40B4-BE49-F238E27FC236}">
                <a16:creationId xmlns:a16="http://schemas.microsoft.com/office/drawing/2014/main" id="{D8F79057-6BF8-4541-8180-7B909F4CB7A4}"/>
              </a:ext>
            </a:extLst>
          </p:cNvPr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2147483647 h 2"/>
              <a:gd name="T6" fmla="*/ 2147483647 w 2"/>
              <a:gd name="T7" fmla="*/ 0 h 2"/>
              <a:gd name="T8" fmla="*/ 2147483647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2147483647 h 2"/>
              <a:gd name="T18" fmla="*/ 0 w 2"/>
              <a:gd name="T19" fmla="*/ 2147483647 h 2"/>
              <a:gd name="T20" fmla="*/ 2147483647 w 2"/>
              <a:gd name="T21" fmla="*/ 2147483647 h 2"/>
              <a:gd name="T22" fmla="*/ 2147483647 w 2"/>
              <a:gd name="T23" fmla="*/ 0 h 2"/>
              <a:gd name="T24" fmla="*/ 2147483647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2147483647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8" name="Freeform 1214">
            <a:extLst>
              <a:ext uri="{FF2B5EF4-FFF2-40B4-BE49-F238E27FC236}">
                <a16:creationId xmlns:a16="http://schemas.microsoft.com/office/drawing/2014/main" id="{4FFD1152-F594-471D-82B4-F332F94D1AE0}"/>
              </a:ext>
            </a:extLst>
          </p:cNvPr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2147483647 h 2"/>
              <a:gd name="T2" fmla="*/ 2147483647 w 2"/>
              <a:gd name="T3" fmla="*/ 2147483647 h 2"/>
              <a:gd name="T4" fmla="*/ 0 w 2"/>
              <a:gd name="T5" fmla="*/ 0 h 2"/>
              <a:gd name="T6" fmla="*/ 0 w 2"/>
              <a:gd name="T7" fmla="*/ 2147483647 h 2"/>
              <a:gd name="T8" fmla="*/ 0 w 2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9" name="Rectangle 1215">
            <a:extLst>
              <a:ext uri="{FF2B5EF4-FFF2-40B4-BE49-F238E27FC236}">
                <a16:creationId xmlns:a16="http://schemas.microsoft.com/office/drawing/2014/main" id="{7B593E49-2670-4DB6-BA06-5C7FCC7D80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30" name="Freeform 1217">
            <a:extLst>
              <a:ext uri="{FF2B5EF4-FFF2-40B4-BE49-F238E27FC236}">
                <a16:creationId xmlns:a16="http://schemas.microsoft.com/office/drawing/2014/main" id="{5096E5AF-8F41-49AF-9601-A2D31AC43D3E}"/>
              </a:ext>
            </a:extLst>
          </p:cNvPr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1" name="Freeform 1219">
            <a:extLst>
              <a:ext uri="{FF2B5EF4-FFF2-40B4-BE49-F238E27FC236}">
                <a16:creationId xmlns:a16="http://schemas.microsoft.com/office/drawing/2014/main" id="{85A10230-695A-4CE7-B7BA-DF8C77AA28EA}"/>
              </a:ext>
            </a:extLst>
          </p:cNvPr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" name="Freeform 1221">
            <a:extLst>
              <a:ext uri="{FF2B5EF4-FFF2-40B4-BE49-F238E27FC236}">
                <a16:creationId xmlns:a16="http://schemas.microsoft.com/office/drawing/2014/main" id="{62CEC189-54BF-4E7A-8E2B-AA9A0D3A7B15}"/>
              </a:ext>
            </a:extLst>
          </p:cNvPr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>
              <a:gd name="T0" fmla="*/ 2147483647 w 2"/>
              <a:gd name="T1" fmla="*/ 0 h 2"/>
              <a:gd name="T2" fmla="*/ 2147483647 w 2"/>
              <a:gd name="T3" fmla="*/ 0 h 2"/>
              <a:gd name="T4" fmla="*/ 2147483647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2147483647 h 2"/>
              <a:gd name="T12" fmla="*/ 2147483647 w 2"/>
              <a:gd name="T13" fmla="*/ 0 h 2"/>
              <a:gd name="T14" fmla="*/ 2147483647 w 2"/>
              <a:gd name="T15" fmla="*/ 0 h 2"/>
              <a:gd name="T16" fmla="*/ 2147483647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2147483647 h 2"/>
              <a:gd name="T24" fmla="*/ 2147483647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3" name="Freeform 1234">
            <a:extLst>
              <a:ext uri="{FF2B5EF4-FFF2-40B4-BE49-F238E27FC236}">
                <a16:creationId xmlns:a16="http://schemas.microsoft.com/office/drawing/2014/main" id="{FDB93DC5-8EA5-4A47-8B7B-F245F8EA16D9}"/>
              </a:ext>
            </a:extLst>
          </p:cNvPr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2147483647 w 2"/>
              <a:gd name="T5" fmla="*/ 0 h 1587"/>
              <a:gd name="T6" fmla="*/ 2147483647 w 2"/>
              <a:gd name="T7" fmla="*/ 0 h 1587"/>
              <a:gd name="T8" fmla="*/ 2147483647 w 2"/>
              <a:gd name="T9" fmla="*/ 0 h 1587"/>
              <a:gd name="T10" fmla="*/ 2147483647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2147483647 w 2"/>
              <a:gd name="T25" fmla="*/ 0 h 1587"/>
              <a:gd name="T26" fmla="*/ 2147483647 w 2"/>
              <a:gd name="T27" fmla="*/ 0 h 1587"/>
              <a:gd name="T28" fmla="*/ 2147483647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2147483647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4" name="Line 1237">
            <a:extLst>
              <a:ext uri="{FF2B5EF4-FFF2-40B4-BE49-F238E27FC236}">
                <a16:creationId xmlns:a16="http://schemas.microsoft.com/office/drawing/2014/main" id="{E5B215D6-AB55-40A7-A3B3-F7847A53A5E3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5" name="Line 1238">
            <a:extLst>
              <a:ext uri="{FF2B5EF4-FFF2-40B4-BE49-F238E27FC236}">
                <a16:creationId xmlns:a16="http://schemas.microsoft.com/office/drawing/2014/main" id="{C9FA6622-F1E7-47BE-9A86-EE4AE24EE9B9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6" name="Freeform 1240">
            <a:extLst>
              <a:ext uri="{FF2B5EF4-FFF2-40B4-BE49-F238E27FC236}">
                <a16:creationId xmlns:a16="http://schemas.microsoft.com/office/drawing/2014/main" id="{A28A83BF-2CF8-489B-818F-DE9E66B29D26}"/>
              </a:ext>
            </a:extLst>
          </p:cNvPr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>
              <a:gd name="T0" fmla="*/ 0 w 1587"/>
              <a:gd name="T1" fmla="*/ 2147483647 h 2"/>
              <a:gd name="T2" fmla="*/ 0 w 1587"/>
              <a:gd name="T3" fmla="*/ 2147483647 h 2"/>
              <a:gd name="T4" fmla="*/ 0 w 1587"/>
              <a:gd name="T5" fmla="*/ 0 h 2"/>
              <a:gd name="T6" fmla="*/ 0 w 1587"/>
              <a:gd name="T7" fmla="*/ 2147483647 h 2"/>
              <a:gd name="T8" fmla="*/ 0 w 1587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7" name="Freeform 1243">
            <a:extLst>
              <a:ext uri="{FF2B5EF4-FFF2-40B4-BE49-F238E27FC236}">
                <a16:creationId xmlns:a16="http://schemas.microsoft.com/office/drawing/2014/main" id="{5DEA8D7E-636C-414C-9A79-5855329DD1E1}"/>
              </a:ext>
            </a:extLst>
          </p:cNvPr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>
              <a:gd name="T0" fmla="*/ 2147483647 w 2"/>
              <a:gd name="T1" fmla="*/ 2147483647 h 2"/>
              <a:gd name="T2" fmla="*/ 2147483647 w 2"/>
              <a:gd name="T3" fmla="*/ 2147483647 h 2"/>
              <a:gd name="T4" fmla="*/ 2147483647 w 2"/>
              <a:gd name="T5" fmla="*/ 2147483647 h 2"/>
              <a:gd name="T6" fmla="*/ 2147483647 w 2"/>
              <a:gd name="T7" fmla="*/ 2147483647 h 2"/>
              <a:gd name="T8" fmla="*/ 0 w 2"/>
              <a:gd name="T9" fmla="*/ 2147483647 h 2"/>
              <a:gd name="T10" fmla="*/ 0 w 2"/>
              <a:gd name="T11" fmla="*/ 2147483647 h 2"/>
              <a:gd name="T12" fmla="*/ 2147483647 w 2"/>
              <a:gd name="T13" fmla="*/ 2147483647 h 2"/>
              <a:gd name="T14" fmla="*/ 0 w 2"/>
              <a:gd name="T15" fmla="*/ 2147483647 h 2"/>
              <a:gd name="T16" fmla="*/ 0 w 2"/>
              <a:gd name="T17" fmla="*/ 2147483647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0 w 2"/>
              <a:gd name="T25" fmla="*/ 2147483647 h 2"/>
              <a:gd name="T26" fmla="*/ 0 w 2"/>
              <a:gd name="T27" fmla="*/ 2147483647 h 2"/>
              <a:gd name="T28" fmla="*/ 0 w 2"/>
              <a:gd name="T29" fmla="*/ 2147483647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2147483647 h 2"/>
              <a:gd name="T38" fmla="*/ 2147483647 w 2"/>
              <a:gd name="T39" fmla="*/ 2147483647 h 2"/>
              <a:gd name="T40" fmla="*/ 2147483647 w 2"/>
              <a:gd name="T41" fmla="*/ 2147483647 h 2"/>
              <a:gd name="T42" fmla="*/ 2147483647 w 2"/>
              <a:gd name="T43" fmla="*/ 2147483647 h 2"/>
              <a:gd name="T44" fmla="*/ 2147483647 w 2"/>
              <a:gd name="T45" fmla="*/ 2147483647 h 2"/>
              <a:gd name="T46" fmla="*/ 2147483647 w 2"/>
              <a:gd name="T47" fmla="*/ 2147483647 h 2"/>
              <a:gd name="T48" fmla="*/ 0 w 2"/>
              <a:gd name="T49" fmla="*/ 0 h 2"/>
              <a:gd name="T50" fmla="*/ 0 w 2"/>
              <a:gd name="T51" fmla="*/ 2147483647 h 2"/>
              <a:gd name="T52" fmla="*/ 0 w 2"/>
              <a:gd name="T53" fmla="*/ 2147483647 h 2"/>
              <a:gd name="T54" fmla="*/ 0 w 2"/>
              <a:gd name="T55" fmla="*/ 2147483647 h 2"/>
              <a:gd name="T56" fmla="*/ 2147483647 w 2"/>
              <a:gd name="T57" fmla="*/ 2147483647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8" name="Freeform 1246">
            <a:extLst>
              <a:ext uri="{FF2B5EF4-FFF2-40B4-BE49-F238E27FC236}">
                <a16:creationId xmlns:a16="http://schemas.microsoft.com/office/drawing/2014/main" id="{FE4D6F85-48F2-4361-A366-72B0DCF9107D}"/>
              </a:ext>
            </a:extLst>
          </p:cNvPr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0 h 2"/>
              <a:gd name="T6" fmla="*/ 2147483647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2147483647 h 2"/>
              <a:gd name="T14" fmla="*/ 0 w 2"/>
              <a:gd name="T15" fmla="*/ 2147483647 h 2"/>
              <a:gd name="T16" fmla="*/ 2147483647 w 2"/>
              <a:gd name="T17" fmla="*/ 0 h 2"/>
              <a:gd name="T18" fmla="*/ 2147483647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2147483647 h 2"/>
              <a:gd name="T48" fmla="*/ 0 w 2"/>
              <a:gd name="T49" fmla="*/ 2147483647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9" name="Freeform 1250">
            <a:extLst>
              <a:ext uri="{FF2B5EF4-FFF2-40B4-BE49-F238E27FC236}">
                <a16:creationId xmlns:a16="http://schemas.microsoft.com/office/drawing/2014/main" id="{96356A3F-75C7-4A63-9873-FC79E70F6153}"/>
              </a:ext>
            </a:extLst>
          </p:cNvPr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>
              <a:gd name="T0" fmla="*/ 2147483647 w 2"/>
              <a:gd name="T1" fmla="*/ 0 h 1588"/>
              <a:gd name="T2" fmla="*/ 0 w 2"/>
              <a:gd name="T3" fmla="*/ 0 h 1588"/>
              <a:gd name="T4" fmla="*/ 2147483647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0" name="Freeform 1252">
            <a:extLst>
              <a:ext uri="{FF2B5EF4-FFF2-40B4-BE49-F238E27FC236}">
                <a16:creationId xmlns:a16="http://schemas.microsoft.com/office/drawing/2014/main" id="{5DAF9F12-96EA-47C4-B743-5D9B3B54F9D8}"/>
              </a:ext>
            </a:extLst>
          </p:cNvPr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>
              <a:gd name="T0" fmla="*/ 2147483647 w 2"/>
              <a:gd name="T1" fmla="*/ 2147483647 h 5"/>
              <a:gd name="T2" fmla="*/ 2147483647 w 2"/>
              <a:gd name="T3" fmla="*/ 2147483647 h 5"/>
              <a:gd name="T4" fmla="*/ 0 w 2"/>
              <a:gd name="T5" fmla="*/ 0 h 5"/>
              <a:gd name="T6" fmla="*/ 0 w 2"/>
              <a:gd name="T7" fmla="*/ 2147483647 h 5"/>
              <a:gd name="T8" fmla="*/ 0 w 2"/>
              <a:gd name="T9" fmla="*/ 2147483647 h 5"/>
              <a:gd name="T10" fmla="*/ 2147483647 w 2"/>
              <a:gd name="T11" fmla="*/ 2147483647 h 5"/>
              <a:gd name="T12" fmla="*/ 2147483647 w 2"/>
              <a:gd name="T13" fmla="*/ 2147483647 h 5"/>
              <a:gd name="T14" fmla="*/ 2147483647 w 2"/>
              <a:gd name="T15" fmla="*/ 2147483647 h 5"/>
              <a:gd name="T16" fmla="*/ 0 w 2"/>
              <a:gd name="T17" fmla="*/ 0 h 5"/>
              <a:gd name="T18" fmla="*/ 0 w 2"/>
              <a:gd name="T19" fmla="*/ 2147483647 h 5"/>
              <a:gd name="T20" fmla="*/ 0 w 2"/>
              <a:gd name="T21" fmla="*/ 2147483647 h 5"/>
              <a:gd name="T22" fmla="*/ 2147483647 w 2"/>
              <a:gd name="T23" fmla="*/ 2147483647 h 5"/>
              <a:gd name="T24" fmla="*/ 2147483647 w 2"/>
              <a:gd name="T25" fmla="*/ 2147483647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1" name="Freeform 1255">
            <a:extLst>
              <a:ext uri="{FF2B5EF4-FFF2-40B4-BE49-F238E27FC236}">
                <a16:creationId xmlns:a16="http://schemas.microsoft.com/office/drawing/2014/main" id="{5EF66D8C-5091-4D59-9DF4-91C7308C72C2}"/>
              </a:ext>
            </a:extLst>
          </p:cNvPr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2147483647 w 2"/>
              <a:gd name="T3" fmla="*/ 0 h 1587"/>
              <a:gd name="T4" fmla="*/ 2147483647 w 2"/>
              <a:gd name="T5" fmla="*/ 0 h 1587"/>
              <a:gd name="T6" fmla="*/ 2147483647 w 2"/>
              <a:gd name="T7" fmla="*/ 0 h 1587"/>
              <a:gd name="T8" fmla="*/ 2147483647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2147483647 w 2"/>
              <a:gd name="T19" fmla="*/ 0 h 1587"/>
              <a:gd name="T20" fmla="*/ 2147483647 w 2"/>
              <a:gd name="T21" fmla="*/ 0 h 1587"/>
              <a:gd name="T22" fmla="*/ 2147483647 w 2"/>
              <a:gd name="T23" fmla="*/ 0 h 1587"/>
              <a:gd name="T24" fmla="*/ 2147483647 w 2"/>
              <a:gd name="T25" fmla="*/ 0 h 1587"/>
              <a:gd name="T26" fmla="*/ 2147483647 w 2"/>
              <a:gd name="T27" fmla="*/ 0 h 1587"/>
              <a:gd name="T28" fmla="*/ 2147483647 w 2"/>
              <a:gd name="T29" fmla="*/ 0 h 1587"/>
              <a:gd name="T30" fmla="*/ 2147483647 w 2"/>
              <a:gd name="T31" fmla="*/ 0 h 1587"/>
              <a:gd name="T32" fmla="*/ 2147483647 w 2"/>
              <a:gd name="T33" fmla="*/ 0 h 1587"/>
              <a:gd name="T34" fmla="*/ 2147483647 w 2"/>
              <a:gd name="T35" fmla="*/ 0 h 1587"/>
              <a:gd name="T36" fmla="*/ 2147483647 w 2"/>
              <a:gd name="T37" fmla="*/ 0 h 1587"/>
              <a:gd name="T38" fmla="*/ 2147483647 w 2"/>
              <a:gd name="T39" fmla="*/ 0 h 1587"/>
              <a:gd name="T40" fmla="*/ 2147483647 w 2"/>
              <a:gd name="T41" fmla="*/ 0 h 1587"/>
              <a:gd name="T42" fmla="*/ 2147483647 w 2"/>
              <a:gd name="T43" fmla="*/ 0 h 1587"/>
              <a:gd name="T44" fmla="*/ 2147483647 w 2"/>
              <a:gd name="T45" fmla="*/ 0 h 1587"/>
              <a:gd name="T46" fmla="*/ 2147483647 w 2"/>
              <a:gd name="T47" fmla="*/ 0 h 1587"/>
              <a:gd name="T48" fmla="*/ 2147483647 w 2"/>
              <a:gd name="T49" fmla="*/ 0 h 1587"/>
              <a:gd name="T50" fmla="*/ 2147483647 w 2"/>
              <a:gd name="T51" fmla="*/ 0 h 1587"/>
              <a:gd name="T52" fmla="*/ 2147483647 w 2"/>
              <a:gd name="T53" fmla="*/ 0 h 1587"/>
              <a:gd name="T54" fmla="*/ 2147483647 w 2"/>
              <a:gd name="T55" fmla="*/ 0 h 1587"/>
              <a:gd name="T56" fmla="*/ 2147483647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2" name="Rectangle 1256">
            <a:extLst>
              <a:ext uri="{FF2B5EF4-FFF2-40B4-BE49-F238E27FC236}">
                <a16:creationId xmlns:a16="http://schemas.microsoft.com/office/drawing/2014/main" id="{3BE8CC15-403E-434F-AF29-6C803D096A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43" name="Freeform 1258">
            <a:extLst>
              <a:ext uri="{FF2B5EF4-FFF2-40B4-BE49-F238E27FC236}">
                <a16:creationId xmlns:a16="http://schemas.microsoft.com/office/drawing/2014/main" id="{29F2280B-3D29-4DC4-9052-A5C755B7F7E3}"/>
              </a:ext>
            </a:extLst>
          </p:cNvPr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4" name="Freeform 1266">
            <a:extLst>
              <a:ext uri="{FF2B5EF4-FFF2-40B4-BE49-F238E27FC236}">
                <a16:creationId xmlns:a16="http://schemas.microsoft.com/office/drawing/2014/main" id="{375C756E-9B95-4522-AB9E-FD7A8192223C}"/>
              </a:ext>
            </a:extLst>
          </p:cNvPr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5" name="Freeform 1269">
            <a:extLst>
              <a:ext uri="{FF2B5EF4-FFF2-40B4-BE49-F238E27FC236}">
                <a16:creationId xmlns:a16="http://schemas.microsoft.com/office/drawing/2014/main" id="{0E36EB8E-3009-4B85-89FE-E1EB397025B3}"/>
              </a:ext>
            </a:extLst>
          </p:cNvPr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>
              <a:gd name="T0" fmla="*/ 0 w 2"/>
              <a:gd name="T1" fmla="*/ 2147483647 h 3"/>
              <a:gd name="T2" fmla="*/ 2147483647 w 2"/>
              <a:gd name="T3" fmla="*/ 0 h 3"/>
              <a:gd name="T4" fmla="*/ 2147483647 w 2"/>
              <a:gd name="T5" fmla="*/ 0 h 3"/>
              <a:gd name="T6" fmla="*/ 2147483647 w 2"/>
              <a:gd name="T7" fmla="*/ 0 h 3"/>
              <a:gd name="T8" fmla="*/ 2147483647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2147483647 h 3"/>
              <a:gd name="T16" fmla="*/ 0 w 2"/>
              <a:gd name="T17" fmla="*/ 2147483647 h 3"/>
              <a:gd name="T18" fmla="*/ 2147483647 w 2"/>
              <a:gd name="T19" fmla="*/ 0 h 3"/>
              <a:gd name="T20" fmla="*/ 2147483647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2147483647 h 3"/>
              <a:gd name="T40" fmla="*/ 0 w 2"/>
              <a:gd name="T41" fmla="*/ 2147483647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6" name="Line 1270">
            <a:extLst>
              <a:ext uri="{FF2B5EF4-FFF2-40B4-BE49-F238E27FC236}">
                <a16:creationId xmlns:a16="http://schemas.microsoft.com/office/drawing/2014/main" id="{4652C408-C8DE-4AEF-84FF-04738B276A50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7" name="Line 1271">
            <a:extLst>
              <a:ext uri="{FF2B5EF4-FFF2-40B4-BE49-F238E27FC236}">
                <a16:creationId xmlns:a16="http://schemas.microsoft.com/office/drawing/2014/main" id="{65DDB928-6962-4937-807D-62A114109EFD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8" name="Rectangle 1272">
            <a:extLst>
              <a:ext uri="{FF2B5EF4-FFF2-40B4-BE49-F238E27FC236}">
                <a16:creationId xmlns:a16="http://schemas.microsoft.com/office/drawing/2014/main" id="{B11A7616-B4D3-479F-BF02-9B7026902C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49" name="Rectangle 1273">
            <a:extLst>
              <a:ext uri="{FF2B5EF4-FFF2-40B4-BE49-F238E27FC236}">
                <a16:creationId xmlns:a16="http://schemas.microsoft.com/office/drawing/2014/main" id="{24A84131-3A14-44D3-9B85-9ED77DDD05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0" name="Line 1274">
            <a:extLst>
              <a:ext uri="{FF2B5EF4-FFF2-40B4-BE49-F238E27FC236}">
                <a16:creationId xmlns:a16="http://schemas.microsoft.com/office/drawing/2014/main" id="{ED08C6BA-B7F1-4F52-8234-21CED504BBE0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1" name="Line 1275">
            <a:extLst>
              <a:ext uri="{FF2B5EF4-FFF2-40B4-BE49-F238E27FC236}">
                <a16:creationId xmlns:a16="http://schemas.microsoft.com/office/drawing/2014/main" id="{D139A433-1BF8-414C-8899-53D817A7EABD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2" name="Freeform 1277">
            <a:extLst>
              <a:ext uri="{FF2B5EF4-FFF2-40B4-BE49-F238E27FC236}">
                <a16:creationId xmlns:a16="http://schemas.microsoft.com/office/drawing/2014/main" id="{039794E7-2081-4923-81D4-EF06F6518946}"/>
              </a:ext>
            </a:extLst>
          </p:cNvPr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>
              <a:gd name="T0" fmla="*/ 0 w 1587"/>
              <a:gd name="T1" fmla="*/ 2147483647 h 2"/>
              <a:gd name="T2" fmla="*/ 0 w 1587"/>
              <a:gd name="T3" fmla="*/ 2147483647 h 2"/>
              <a:gd name="T4" fmla="*/ 0 w 1587"/>
              <a:gd name="T5" fmla="*/ 0 h 2"/>
              <a:gd name="T6" fmla="*/ 0 w 1587"/>
              <a:gd name="T7" fmla="*/ 2147483647 h 2"/>
              <a:gd name="T8" fmla="*/ 0 w 1587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3" name="Freeform 1287">
            <a:extLst>
              <a:ext uri="{FF2B5EF4-FFF2-40B4-BE49-F238E27FC236}">
                <a16:creationId xmlns:a16="http://schemas.microsoft.com/office/drawing/2014/main" id="{E5607C9B-7F93-4422-9716-1A51F1012544}"/>
              </a:ext>
            </a:extLst>
          </p:cNvPr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2147483647 h 2"/>
              <a:gd name="T4" fmla="*/ 2147483647 w 2"/>
              <a:gd name="T5" fmla="*/ 2147483647 h 2"/>
              <a:gd name="T6" fmla="*/ 2147483647 w 2"/>
              <a:gd name="T7" fmla="*/ 2147483647 h 2"/>
              <a:gd name="T8" fmla="*/ 2147483647 w 2"/>
              <a:gd name="T9" fmla="*/ 2147483647 h 2"/>
              <a:gd name="T10" fmla="*/ 2147483647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2147483647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2147483647 w 2"/>
              <a:gd name="T25" fmla="*/ 2147483647 h 2"/>
              <a:gd name="T26" fmla="*/ 2147483647 w 2"/>
              <a:gd name="T27" fmla="*/ 2147483647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4" name="Freeform 1290">
            <a:extLst>
              <a:ext uri="{FF2B5EF4-FFF2-40B4-BE49-F238E27FC236}">
                <a16:creationId xmlns:a16="http://schemas.microsoft.com/office/drawing/2014/main" id="{7562A6B4-3318-416A-A485-4945D53F3F42}"/>
              </a:ext>
            </a:extLst>
          </p:cNvPr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2147483647 h 2"/>
              <a:gd name="T6" fmla="*/ 2147483647 w 2"/>
              <a:gd name="T7" fmla="*/ 2147483647 h 2"/>
              <a:gd name="T8" fmla="*/ 2147483647 w 2"/>
              <a:gd name="T9" fmla="*/ 2147483647 h 2"/>
              <a:gd name="T10" fmla="*/ 2147483647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2147483647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2147483647 h 2"/>
              <a:gd name="T50" fmla="*/ 2147483647 w 2"/>
              <a:gd name="T51" fmla="*/ 2147483647 h 2"/>
              <a:gd name="T52" fmla="*/ 2147483647 w 2"/>
              <a:gd name="T53" fmla="*/ 0 h 2"/>
              <a:gd name="T54" fmla="*/ 2147483647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2147483647 h 2"/>
              <a:gd name="T62" fmla="*/ 0 w 2"/>
              <a:gd name="T63" fmla="*/ 2147483647 h 2"/>
              <a:gd name="T64" fmla="*/ 2147483647 w 2"/>
              <a:gd name="T65" fmla="*/ 2147483647 h 2"/>
              <a:gd name="T66" fmla="*/ 2147483647 w 2"/>
              <a:gd name="T67" fmla="*/ 2147483647 h 2"/>
              <a:gd name="T68" fmla="*/ 0 w 2"/>
              <a:gd name="T69" fmla="*/ 2147483647 h 2"/>
              <a:gd name="T70" fmla="*/ 0 w 2"/>
              <a:gd name="T71" fmla="*/ 2147483647 h 2"/>
              <a:gd name="T72" fmla="*/ 0 w 2"/>
              <a:gd name="T73" fmla="*/ 2147483647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5" name="Rectangle 1335">
            <a:extLst>
              <a:ext uri="{FF2B5EF4-FFF2-40B4-BE49-F238E27FC236}">
                <a16:creationId xmlns:a16="http://schemas.microsoft.com/office/drawing/2014/main" id="{E6056AB4-CF5B-451D-BEB4-EB1A786D2D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6" name="Rectangle 1336">
            <a:extLst>
              <a:ext uri="{FF2B5EF4-FFF2-40B4-BE49-F238E27FC236}">
                <a16:creationId xmlns:a16="http://schemas.microsoft.com/office/drawing/2014/main" id="{AA5C84C2-405A-4C71-8DAC-EDE22661FB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7" name="Rectangle 1337">
            <a:extLst>
              <a:ext uri="{FF2B5EF4-FFF2-40B4-BE49-F238E27FC236}">
                <a16:creationId xmlns:a16="http://schemas.microsoft.com/office/drawing/2014/main" id="{F3E889C8-0A4E-4ED0-98B5-F27F6C025B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8" name="Rectangle 1340">
            <a:extLst>
              <a:ext uri="{FF2B5EF4-FFF2-40B4-BE49-F238E27FC236}">
                <a16:creationId xmlns:a16="http://schemas.microsoft.com/office/drawing/2014/main" id="{256C39E5-9F26-4C02-B9CC-E798BD1C82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9" name="Rectangle 1341">
            <a:extLst>
              <a:ext uri="{FF2B5EF4-FFF2-40B4-BE49-F238E27FC236}">
                <a16:creationId xmlns:a16="http://schemas.microsoft.com/office/drawing/2014/main" id="{A15D68F8-CC3A-497E-B1EB-7E33031858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60" name="Rectangle 1342">
            <a:extLst>
              <a:ext uri="{FF2B5EF4-FFF2-40B4-BE49-F238E27FC236}">
                <a16:creationId xmlns:a16="http://schemas.microsoft.com/office/drawing/2014/main" id="{8B2A8A74-E713-407D-B56E-14C7579D04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61" name="Rectangle 1343">
            <a:extLst>
              <a:ext uri="{FF2B5EF4-FFF2-40B4-BE49-F238E27FC236}">
                <a16:creationId xmlns:a16="http://schemas.microsoft.com/office/drawing/2014/main" id="{25977F99-B333-4259-BD6F-A11DA7EAC9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62" name="Rectangle 1344">
            <a:extLst>
              <a:ext uri="{FF2B5EF4-FFF2-40B4-BE49-F238E27FC236}">
                <a16:creationId xmlns:a16="http://schemas.microsoft.com/office/drawing/2014/main" id="{56892C96-FF29-4786-B1FC-46125B276C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324" name="Title 323"/>
          <p:cNvSpPr>
            <a:spLocks noGrp="1"/>
          </p:cNvSpPr>
          <p:nvPr>
            <p:ph type="title"/>
          </p:nvPr>
        </p:nvSpPr>
        <p:spPr>
          <a:xfrm>
            <a:off x="343401" y="301625"/>
            <a:ext cx="8439652" cy="1031875"/>
          </a:xfrm>
        </p:spPr>
        <p:txBody>
          <a:bodyPr/>
          <a:lstStyle>
            <a:lvl1pPr>
              <a:defRPr b="0" i="0" cap="none" baseline="0">
                <a:solidFill>
                  <a:schemeClr val="tx1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31" name="Content Placeholder 330"/>
          <p:cNvSpPr>
            <a:spLocks noGrp="1"/>
          </p:cNvSpPr>
          <p:nvPr>
            <p:ph sz="quarter" idx="10"/>
          </p:nvPr>
        </p:nvSpPr>
        <p:spPr>
          <a:xfrm>
            <a:off x="343401" y="1460500"/>
            <a:ext cx="8440305" cy="4600863"/>
          </a:xfrm>
        </p:spPr>
        <p:txBody>
          <a:bodyPr>
            <a:normAutofit/>
          </a:bodyPr>
          <a:lstStyle>
            <a:lvl1pPr>
              <a:lnSpc>
                <a:spcPct val="130000"/>
              </a:lnSpc>
              <a:spcBef>
                <a:spcPts val="1200"/>
              </a:spcBef>
              <a:defRPr>
                <a:solidFill>
                  <a:srgbClr val="7F7F7F"/>
                </a:solidFill>
              </a:defRPr>
            </a:lvl1pPr>
            <a:lvl2pPr>
              <a:lnSpc>
                <a:spcPct val="130000"/>
              </a:lnSpc>
              <a:spcBef>
                <a:spcPts val="120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2pPr>
            <a:lvl3pPr marL="557784"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3pPr>
            <a:lvl4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4pPr>
            <a:lvl5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3" name="Footer Placeholder 8">
            <a:extLst>
              <a:ext uri="{FF2B5EF4-FFF2-40B4-BE49-F238E27FC236}">
                <a16:creationId xmlns:a16="http://schemas.microsoft.com/office/drawing/2014/main" id="{D4808B09-2682-4A3C-8866-C8B474120D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  <p:sp>
        <p:nvSpPr>
          <p:cNvPr id="64" name="Slide Number Placeholder 9">
            <a:extLst>
              <a:ext uri="{FF2B5EF4-FFF2-40B4-BE49-F238E27FC236}">
                <a16:creationId xmlns:a16="http://schemas.microsoft.com/office/drawing/2014/main" id="{B8B72FB5-C2CE-4943-ACD5-4461677544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1FC0524-9AED-456C-BADC-F0F6F26BD804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282275708"/>
      </p:ext>
    </p:extLst>
  </p:cSld>
  <p:clrMapOvr>
    <a:masterClrMapping/>
  </p:clrMapOvr>
  <p:hf hdr="0" dt="0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ight 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/>
        </p:nvSpPr>
        <p:spPr bwMode="auto">
          <a:xfrm flipV="1">
            <a:off x="0" y="2"/>
            <a:ext cx="9144000" cy="4479925"/>
          </a:xfrm>
          <a:prstGeom prst="rect">
            <a:avLst/>
          </a:prstGeom>
          <a:solidFill>
            <a:srgbClr val="139A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/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0" y="4311652"/>
            <a:ext cx="9144000" cy="176213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solidFill>
                <a:schemeClr val="bg1"/>
              </a:solidFill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1512624" y="1189791"/>
            <a:ext cx="6971806" cy="1822161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1525173" y="3000005"/>
            <a:ext cx="6959257" cy="87588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rgbClr val="FFFFFF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9" name="Text Placeholder 331"/>
          <p:cNvSpPr>
            <a:spLocks noGrp="1"/>
          </p:cNvSpPr>
          <p:nvPr>
            <p:ph type="body" sz="quarter" idx="14"/>
          </p:nvPr>
        </p:nvSpPr>
        <p:spPr>
          <a:xfrm>
            <a:off x="5682073" y="4699003"/>
            <a:ext cx="2821170" cy="1393637"/>
          </a:xfrm>
        </p:spPr>
        <p:txBody>
          <a:bodyPr anchor="b"/>
          <a:lstStyle>
            <a:lvl1pPr marL="0" marR="0" indent="0" algn="r" defTabSz="914400" rtl="0" eaLnBrk="1" fontAlgn="base" latinLnBrk="0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SzTx/>
              <a:buFontTx/>
              <a:buNone/>
              <a:tabLst/>
              <a:defRPr sz="1400" b="0" i="0" baseline="0">
                <a:solidFill>
                  <a:schemeClr val="tx1"/>
                </a:solidFill>
                <a:latin typeface="+mn-lt"/>
                <a:cs typeface="Arial"/>
              </a:defRPr>
            </a:lvl1pPr>
            <a:lvl2pPr marL="0" marR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SzTx/>
              <a:buFont typeface="Wingdings" charset="0"/>
              <a:buNone/>
              <a:tabLst/>
              <a:defRPr sz="1400" b="0" i="0">
                <a:latin typeface="+mn-l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0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508001" y="4699001"/>
            <a:ext cx="5058833" cy="1375832"/>
          </a:xfrm>
          <a:solidFill>
            <a:srgbClr val="FFFFFF"/>
          </a:solidFill>
        </p:spPr>
        <p:txBody>
          <a:bodyPr anchor="ctr">
            <a:normAutofit/>
          </a:bodyPr>
          <a:lstStyle>
            <a:lvl1pPr algn="ctr">
              <a:defRPr baseline="0">
                <a:solidFill>
                  <a:srgbClr val="021F43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8" name="Rectangle 1028"/>
          <p:cNvSpPr>
            <a:spLocks noGrp="1" noChangeArrowheads="1"/>
          </p:cNvSpPr>
          <p:nvPr>
            <p:ph type="dt" sz="half" idx="17"/>
          </p:nvPr>
        </p:nvSpPr>
        <p:spPr>
          <a:xfrm>
            <a:off x="5942014" y="6107115"/>
            <a:ext cx="2551112" cy="306387"/>
          </a:xfrm>
        </p:spPr>
        <p:txBody>
          <a:bodyPr rIns="0" anchor="ctr"/>
          <a:lstStyle>
            <a:lvl1pPr algn="r">
              <a:defRPr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1497102"/>
      </p:ext>
    </p:extLst>
  </p:cSld>
  <p:clrMapOvr>
    <a:masterClrMapping/>
  </p:clrMapOvr>
  <p:hf hd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hit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0" y="4311652"/>
            <a:ext cx="9144000" cy="176213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solidFill>
                <a:schemeClr val="bg2"/>
              </a:solidFill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1512624" y="1189791"/>
            <a:ext cx="6971806" cy="1822161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1525173" y="3000005"/>
            <a:ext cx="6959257" cy="87588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chemeClr val="tx1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9" name="Text Placeholder 331"/>
          <p:cNvSpPr>
            <a:spLocks noGrp="1"/>
          </p:cNvSpPr>
          <p:nvPr>
            <p:ph type="body" sz="quarter" idx="14"/>
          </p:nvPr>
        </p:nvSpPr>
        <p:spPr>
          <a:xfrm>
            <a:off x="5682073" y="4699003"/>
            <a:ext cx="2821170" cy="1393637"/>
          </a:xfrm>
        </p:spPr>
        <p:txBody>
          <a:bodyPr anchor="b"/>
          <a:lstStyle>
            <a:lvl1pPr algn="r">
              <a:lnSpc>
                <a:spcPct val="100000"/>
              </a:lnSpc>
              <a:defRPr sz="1400" b="0" i="0" baseline="0">
                <a:solidFill>
                  <a:schemeClr val="tx1"/>
                </a:solidFill>
                <a:latin typeface="+mn-lt"/>
                <a:cs typeface="Arial"/>
              </a:defRPr>
            </a:lvl1pPr>
            <a:lvl2pPr algn="r">
              <a:defRPr sz="1400" b="0" i="0">
                <a:latin typeface="+mn-l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0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508001" y="4699001"/>
            <a:ext cx="5058833" cy="1375832"/>
          </a:xfrm>
          <a:solidFill>
            <a:srgbClr val="FFFFFF"/>
          </a:solidFill>
        </p:spPr>
        <p:txBody>
          <a:bodyPr anchor="ctr">
            <a:normAutofit/>
          </a:bodyPr>
          <a:lstStyle>
            <a:lvl1pPr algn="ctr">
              <a:defRPr baseline="0">
                <a:solidFill>
                  <a:srgbClr val="021F43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7" name="Rectangle 1028"/>
          <p:cNvSpPr>
            <a:spLocks noGrp="1" noChangeArrowheads="1"/>
          </p:cNvSpPr>
          <p:nvPr>
            <p:ph type="dt" sz="half" idx="17"/>
          </p:nvPr>
        </p:nvSpPr>
        <p:spPr>
          <a:xfrm>
            <a:off x="5942014" y="6107115"/>
            <a:ext cx="2551112" cy="306387"/>
          </a:xfrm>
        </p:spPr>
        <p:txBody>
          <a:bodyPr rIns="0" anchor="ctr"/>
          <a:lstStyle>
            <a:lvl1pPr algn="r">
              <a:defRPr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7470043"/>
      </p:ext>
    </p:extLst>
  </p:cSld>
  <p:clrMapOvr>
    <a:masterClrMapping/>
  </p:clrMapOvr>
  <p:hf hdr="0" dt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ark 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/>
        </p:nvSpPr>
        <p:spPr bwMode="auto">
          <a:xfrm flipV="1">
            <a:off x="0" y="2"/>
            <a:ext cx="9144000" cy="4479925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/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0" y="4302127"/>
            <a:ext cx="9144000" cy="176213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solidFill>
                <a:schemeClr val="bg1"/>
              </a:solidFill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1396005" y="1189791"/>
            <a:ext cx="7039470" cy="1822161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1408677" y="3000005"/>
            <a:ext cx="7026799" cy="121104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rgbClr val="FFFFFF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0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508001" y="4699001"/>
            <a:ext cx="5058833" cy="1375832"/>
          </a:xfrm>
          <a:solidFill>
            <a:srgbClr val="FFFFFF"/>
          </a:solidFill>
        </p:spPr>
        <p:txBody>
          <a:bodyPr anchor="ctr">
            <a:normAutofit/>
          </a:bodyPr>
          <a:lstStyle>
            <a:lvl1pPr algn="ctr">
              <a:defRPr baseline="0">
                <a:solidFill>
                  <a:srgbClr val="021F43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9" name="Text Placeholder 331"/>
          <p:cNvSpPr>
            <a:spLocks noGrp="1"/>
          </p:cNvSpPr>
          <p:nvPr>
            <p:ph type="body" sz="quarter" idx="14"/>
          </p:nvPr>
        </p:nvSpPr>
        <p:spPr>
          <a:xfrm>
            <a:off x="5682073" y="4699003"/>
            <a:ext cx="2821170" cy="1393637"/>
          </a:xfrm>
        </p:spPr>
        <p:txBody>
          <a:bodyPr anchor="b"/>
          <a:lstStyle>
            <a:lvl1pPr algn="r">
              <a:lnSpc>
                <a:spcPct val="100000"/>
              </a:lnSpc>
              <a:defRPr sz="1400" b="0" i="0" baseline="0">
                <a:solidFill>
                  <a:schemeClr val="tx1"/>
                </a:solidFill>
                <a:latin typeface="+mn-lt"/>
                <a:cs typeface="Arial"/>
              </a:defRPr>
            </a:lvl1pPr>
            <a:lvl2pPr algn="r">
              <a:defRPr sz="1400" b="0" i="0">
                <a:latin typeface="+mn-l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Rectangle 1028"/>
          <p:cNvSpPr>
            <a:spLocks noGrp="1" noChangeArrowheads="1"/>
          </p:cNvSpPr>
          <p:nvPr>
            <p:ph type="dt" sz="half" idx="17"/>
          </p:nvPr>
        </p:nvSpPr>
        <p:spPr>
          <a:xfrm>
            <a:off x="5716589" y="6116640"/>
            <a:ext cx="2719387" cy="306387"/>
          </a:xfrm>
        </p:spPr>
        <p:txBody>
          <a:bodyPr rIns="0" anchor="ctr"/>
          <a:lstStyle>
            <a:lvl1pPr algn="r">
              <a:defRPr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0218781"/>
      </p:ext>
    </p:extLst>
  </p:cSld>
  <p:clrMapOvr>
    <a:masterClrMapping/>
  </p:clrMapOvr>
  <p:hf hdr="0" dt="0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B31535-932A-4C86-AB61-6DE103765D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329F0E9-D2AA-48D1-A5BD-8877D68A71C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F84AB5C-BEEA-4025-AA1D-0A1DFB47EE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839AA5-571F-4D76-B0CB-5D74C2020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IS and spatial analysis issues and topic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17CB010-0833-49B7-9A64-A4CE008DA3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E2BDE6-154B-48D7-B83E-4DDE65FE62B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9744704"/>
      </p:ext>
    </p:extLst>
  </p:cSld>
  <p:clrMapOvr>
    <a:masterClrMapping/>
  </p:clrMapOvr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EFE54EC-9574-448A-B6BB-07B428BEA9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100138"/>
            <a:ext cx="9144000" cy="17621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solidFill>
                <a:schemeClr val="bg1"/>
              </a:solidFill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1626"/>
            <a:ext cx="8462029" cy="756707"/>
          </a:xfrm>
        </p:spPr>
        <p:txBody>
          <a:bodyPr/>
          <a:lstStyle>
            <a:lvl1pPr>
              <a:defRPr sz="2200" b="0" i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49250" y="1598613"/>
            <a:ext cx="8477250" cy="4613804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2400"/>
              </a:spcBef>
              <a:tabLst>
                <a:tab pos="8402638" algn="r"/>
              </a:tabLst>
              <a:defRPr lang="en-US" sz="1600" smtClean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938B194C-EF5F-46CC-AD99-39125225F4F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  <p:sp>
        <p:nvSpPr>
          <p:cNvPr id="6" name="Slide Number Placeholder 7">
            <a:extLst>
              <a:ext uri="{FF2B5EF4-FFF2-40B4-BE49-F238E27FC236}">
                <a16:creationId xmlns:a16="http://schemas.microsoft.com/office/drawing/2014/main" id="{1AE48678-D0CE-4900-B7DE-CC7BF35DDA8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ADB71046-B3E1-4E85-9A22-CBE8B4AAAEA3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008229247"/>
      </p:ext>
    </p:extLst>
  </p:cSld>
  <p:clrMapOvr>
    <a:masterClrMapping/>
  </p:clrMapOvr>
  <p:hf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682">
            <a:extLst>
              <a:ext uri="{FF2B5EF4-FFF2-40B4-BE49-F238E27FC236}">
                <a16:creationId xmlns:a16="http://schemas.microsoft.com/office/drawing/2014/main" id="{BF74A5D1-E605-4D81-90FE-6F2B13C01768}"/>
              </a:ext>
            </a:extLst>
          </p:cNvPr>
          <p:cNvSpPr>
            <a:spLocks/>
          </p:cNvSpPr>
          <p:nvPr/>
        </p:nvSpPr>
        <p:spPr bwMode="auto">
          <a:xfrm flipH="1">
            <a:off x="6380163" y="615950"/>
            <a:ext cx="1014412" cy="1895475"/>
          </a:xfrm>
          <a:custGeom>
            <a:avLst/>
            <a:gdLst>
              <a:gd name="T0" fmla="*/ 0 w 638"/>
              <a:gd name="T1" fmla="*/ 0 h 1194"/>
              <a:gd name="T2" fmla="*/ 2147483647 w 638"/>
              <a:gd name="T3" fmla="*/ 2147483647 h 1194"/>
              <a:gd name="T4" fmla="*/ 2147483647 w 638"/>
              <a:gd name="T5" fmla="*/ 2147483647 h 1194"/>
              <a:gd name="T6" fmla="*/ 2147483647 w 638"/>
              <a:gd name="T7" fmla="*/ 2147483647 h 1194"/>
              <a:gd name="T8" fmla="*/ 2147483647 w 638"/>
              <a:gd name="T9" fmla="*/ 2147483647 h 1194"/>
              <a:gd name="T10" fmla="*/ 2147483647 w 638"/>
              <a:gd name="T11" fmla="*/ 2147483647 h 1194"/>
              <a:gd name="T12" fmla="*/ 2147483647 w 638"/>
              <a:gd name="T13" fmla="*/ 2147483647 h 1194"/>
              <a:gd name="T14" fmla="*/ 2147483647 w 638"/>
              <a:gd name="T15" fmla="*/ 2147483647 h 1194"/>
              <a:gd name="T16" fmla="*/ 2147483647 w 638"/>
              <a:gd name="T17" fmla="*/ 2147483647 h 1194"/>
              <a:gd name="T18" fmla="*/ 2147483647 w 638"/>
              <a:gd name="T19" fmla="*/ 2147483647 h 1194"/>
              <a:gd name="T20" fmla="*/ 2147483647 w 638"/>
              <a:gd name="T21" fmla="*/ 2147483647 h 1194"/>
              <a:gd name="T22" fmla="*/ 2147483647 w 638"/>
              <a:gd name="T23" fmla="*/ 2147483647 h 1194"/>
              <a:gd name="T24" fmla="*/ 2147483647 w 638"/>
              <a:gd name="T25" fmla="*/ 2147483647 h 1194"/>
              <a:gd name="T26" fmla="*/ 2147483647 w 638"/>
              <a:gd name="T27" fmla="*/ 2147483647 h 1194"/>
              <a:gd name="T28" fmla="*/ 2147483647 w 638"/>
              <a:gd name="T29" fmla="*/ 2147483647 h 1194"/>
              <a:gd name="T30" fmla="*/ 2147483647 w 638"/>
              <a:gd name="T31" fmla="*/ 2147483647 h 1194"/>
              <a:gd name="T32" fmla="*/ 2147483647 w 638"/>
              <a:gd name="T33" fmla="*/ 2147483647 h 1194"/>
              <a:gd name="T34" fmla="*/ 2147483647 w 638"/>
              <a:gd name="T35" fmla="*/ 2147483647 h 1194"/>
              <a:gd name="T36" fmla="*/ 2147483647 w 638"/>
              <a:gd name="T37" fmla="*/ 2147483647 h 1194"/>
              <a:gd name="T38" fmla="*/ 2147483647 w 638"/>
              <a:gd name="T39" fmla="*/ 2147483647 h 1194"/>
              <a:gd name="T40" fmla="*/ 2147483647 w 638"/>
              <a:gd name="T41" fmla="*/ 2147483647 h 1194"/>
              <a:gd name="T42" fmla="*/ 2147483647 w 638"/>
              <a:gd name="T43" fmla="*/ 2147483647 h 1194"/>
              <a:gd name="T44" fmla="*/ 2147483647 w 638"/>
              <a:gd name="T45" fmla="*/ 2147483647 h 1194"/>
              <a:gd name="T46" fmla="*/ 2147483647 w 638"/>
              <a:gd name="T47" fmla="*/ 2147483647 h 1194"/>
              <a:gd name="T48" fmla="*/ 2147483647 w 638"/>
              <a:gd name="T49" fmla="*/ 2147483647 h 1194"/>
              <a:gd name="T50" fmla="*/ 2147483647 w 638"/>
              <a:gd name="T51" fmla="*/ 2147483647 h 1194"/>
              <a:gd name="T52" fmla="*/ 2147483647 w 638"/>
              <a:gd name="T53" fmla="*/ 2147483647 h 1194"/>
              <a:gd name="T54" fmla="*/ 2147483647 w 638"/>
              <a:gd name="T55" fmla="*/ 2147483647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5" name="Freeform 1683">
            <a:extLst>
              <a:ext uri="{FF2B5EF4-FFF2-40B4-BE49-F238E27FC236}">
                <a16:creationId xmlns:a16="http://schemas.microsoft.com/office/drawing/2014/main" id="{01DD12B7-C629-4976-9ACD-FCC70A055E13}"/>
              </a:ext>
            </a:extLst>
          </p:cNvPr>
          <p:cNvSpPr>
            <a:spLocks/>
          </p:cNvSpPr>
          <p:nvPr/>
        </p:nvSpPr>
        <p:spPr bwMode="auto">
          <a:xfrm flipH="1">
            <a:off x="7410450" y="3175"/>
            <a:ext cx="712788" cy="584200"/>
          </a:xfrm>
          <a:custGeom>
            <a:avLst/>
            <a:gdLst>
              <a:gd name="T0" fmla="*/ 2147483647 w 448"/>
              <a:gd name="T1" fmla="*/ 2147483647 h 372"/>
              <a:gd name="T2" fmla="*/ 2147483647 w 448"/>
              <a:gd name="T3" fmla="*/ 2147483647 h 372"/>
              <a:gd name="T4" fmla="*/ 2147483647 w 448"/>
              <a:gd name="T5" fmla="*/ 2147483647 h 372"/>
              <a:gd name="T6" fmla="*/ 2147483647 w 448"/>
              <a:gd name="T7" fmla="*/ 2147483647 h 372"/>
              <a:gd name="T8" fmla="*/ 2147483647 w 448"/>
              <a:gd name="T9" fmla="*/ 2147483647 h 372"/>
              <a:gd name="T10" fmla="*/ 2147483647 w 448"/>
              <a:gd name="T11" fmla="*/ 2147483647 h 372"/>
              <a:gd name="T12" fmla="*/ 0 w 448"/>
              <a:gd name="T13" fmla="*/ 0 h 372"/>
              <a:gd name="T14" fmla="*/ 2147483647 w 448"/>
              <a:gd name="T15" fmla="*/ 0 h 372"/>
              <a:gd name="T16" fmla="*/ 2147483647 w 448"/>
              <a:gd name="T17" fmla="*/ 2147483647 h 372"/>
              <a:gd name="T18" fmla="*/ 2147483647 w 448"/>
              <a:gd name="T19" fmla="*/ 2147483647 h 372"/>
              <a:gd name="T20" fmla="*/ 2147483647 w 448"/>
              <a:gd name="T21" fmla="*/ 2147483647 h 372"/>
              <a:gd name="T22" fmla="*/ 2147483647 w 448"/>
              <a:gd name="T23" fmla="*/ 2147483647 h 372"/>
              <a:gd name="T24" fmla="*/ 2147483647 w 448"/>
              <a:gd name="T25" fmla="*/ 2147483647 h 372"/>
              <a:gd name="T26" fmla="*/ 2147483647 w 448"/>
              <a:gd name="T27" fmla="*/ 2147483647 h 372"/>
              <a:gd name="T28" fmla="*/ 2147483647 w 448"/>
              <a:gd name="T29" fmla="*/ 2147483647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" name="Line 1086">
            <a:extLst>
              <a:ext uri="{FF2B5EF4-FFF2-40B4-BE49-F238E27FC236}">
                <a16:creationId xmlns:a16="http://schemas.microsoft.com/office/drawing/2014/main" id="{3E30CA1A-7957-46D7-B31E-09AAFC950C1B}"/>
              </a:ext>
            </a:extLst>
          </p:cNvPr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" name="Line 1087">
            <a:extLst>
              <a:ext uri="{FF2B5EF4-FFF2-40B4-BE49-F238E27FC236}">
                <a16:creationId xmlns:a16="http://schemas.microsoft.com/office/drawing/2014/main" id="{904A2B60-F521-4AE2-99A1-DA654C4BCDD2}"/>
              </a:ext>
            </a:extLst>
          </p:cNvPr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" name="Rectangle 1088">
            <a:extLst>
              <a:ext uri="{FF2B5EF4-FFF2-40B4-BE49-F238E27FC236}">
                <a16:creationId xmlns:a16="http://schemas.microsoft.com/office/drawing/2014/main" id="{B7873832-0F8E-447A-AB27-F36C306C71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9" name="Rectangle 1089">
            <a:extLst>
              <a:ext uri="{FF2B5EF4-FFF2-40B4-BE49-F238E27FC236}">
                <a16:creationId xmlns:a16="http://schemas.microsoft.com/office/drawing/2014/main" id="{034F07D4-7F88-4A9D-8194-9A2627189D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10" name="Freeform 1098">
            <a:extLst>
              <a:ext uri="{FF2B5EF4-FFF2-40B4-BE49-F238E27FC236}">
                <a16:creationId xmlns:a16="http://schemas.microsoft.com/office/drawing/2014/main" id="{D443818B-EB90-429C-948F-0D1F35A9ECF2}"/>
              </a:ext>
            </a:extLst>
          </p:cNvPr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>
              <a:gd name="T0" fmla="*/ 0 w 2"/>
              <a:gd name="T1" fmla="*/ 0 h 1587"/>
              <a:gd name="T2" fmla="*/ 2147483647 w 2"/>
              <a:gd name="T3" fmla="*/ 0 h 1587"/>
              <a:gd name="T4" fmla="*/ 2147483647 w 2"/>
              <a:gd name="T5" fmla="*/ 0 h 1587"/>
              <a:gd name="T6" fmla="*/ 2147483647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2147483647 w 2"/>
              <a:gd name="T35" fmla="*/ 0 h 1587"/>
              <a:gd name="T36" fmla="*/ 2147483647 w 2"/>
              <a:gd name="T37" fmla="*/ 0 h 1587"/>
              <a:gd name="T38" fmla="*/ 2147483647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" name="Freeform 1115">
            <a:extLst>
              <a:ext uri="{FF2B5EF4-FFF2-40B4-BE49-F238E27FC236}">
                <a16:creationId xmlns:a16="http://schemas.microsoft.com/office/drawing/2014/main" id="{0736BF39-5F17-45F3-89DB-06D3A38FEEFA}"/>
              </a:ext>
            </a:extLst>
          </p:cNvPr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0 w 2"/>
              <a:gd name="T5" fmla="*/ 2147483647 h 2"/>
              <a:gd name="T6" fmla="*/ 0 w 2"/>
              <a:gd name="T7" fmla="*/ 2147483647 h 2"/>
              <a:gd name="T8" fmla="*/ 0 w 2"/>
              <a:gd name="T9" fmla="*/ 2147483647 h 2"/>
              <a:gd name="T10" fmla="*/ 0 w 2"/>
              <a:gd name="T11" fmla="*/ 2147483647 h 2"/>
              <a:gd name="T12" fmla="*/ 2147483647 w 2"/>
              <a:gd name="T13" fmla="*/ 2147483647 h 2"/>
              <a:gd name="T14" fmla="*/ 2147483647 w 2"/>
              <a:gd name="T15" fmla="*/ 2147483647 h 2"/>
              <a:gd name="T16" fmla="*/ 2147483647 w 2"/>
              <a:gd name="T17" fmla="*/ 0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0 w 2"/>
              <a:gd name="T25" fmla="*/ 2147483647 h 2"/>
              <a:gd name="T26" fmla="*/ 0 w 2"/>
              <a:gd name="T27" fmla="*/ 2147483647 h 2"/>
              <a:gd name="T28" fmla="*/ 2147483647 w 2"/>
              <a:gd name="T29" fmla="*/ 2147483647 h 2"/>
              <a:gd name="T30" fmla="*/ 2147483647 w 2"/>
              <a:gd name="T31" fmla="*/ 2147483647 h 2"/>
              <a:gd name="T32" fmla="*/ 2147483647 w 2"/>
              <a:gd name="T33" fmla="*/ 2147483647 h 2"/>
              <a:gd name="T34" fmla="*/ 2147483647 w 2"/>
              <a:gd name="T35" fmla="*/ 2147483647 h 2"/>
              <a:gd name="T36" fmla="*/ 2147483647 w 2"/>
              <a:gd name="T37" fmla="*/ 2147483647 h 2"/>
              <a:gd name="T38" fmla="*/ 2147483647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0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0 w 2"/>
              <a:gd name="T53" fmla="*/ 2147483647 h 2"/>
              <a:gd name="T54" fmla="*/ 2147483647 w 2"/>
              <a:gd name="T55" fmla="*/ 2147483647 h 2"/>
              <a:gd name="T56" fmla="*/ 0 w 2"/>
              <a:gd name="T57" fmla="*/ 2147483647 h 2"/>
              <a:gd name="T58" fmla="*/ 2147483647 w 2"/>
              <a:gd name="T59" fmla="*/ 2147483647 h 2"/>
              <a:gd name="T60" fmla="*/ 2147483647 w 2"/>
              <a:gd name="T61" fmla="*/ 2147483647 h 2"/>
              <a:gd name="T62" fmla="*/ 2147483647 w 2"/>
              <a:gd name="T63" fmla="*/ 2147483647 h 2"/>
              <a:gd name="T64" fmla="*/ 0 w 2"/>
              <a:gd name="T65" fmla="*/ 2147483647 h 2"/>
              <a:gd name="T66" fmla="*/ 0 w 2"/>
              <a:gd name="T67" fmla="*/ 2147483647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" name="Freeform 1120">
            <a:extLst>
              <a:ext uri="{FF2B5EF4-FFF2-40B4-BE49-F238E27FC236}">
                <a16:creationId xmlns:a16="http://schemas.microsoft.com/office/drawing/2014/main" id="{F965DA1C-EC49-4EEB-B4D2-557F31BE71AC}"/>
              </a:ext>
            </a:extLst>
          </p:cNvPr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2147483647 h 2"/>
              <a:gd name="T4" fmla="*/ 0 w 2"/>
              <a:gd name="T5" fmla="*/ 2147483647 h 2"/>
              <a:gd name="T6" fmla="*/ 0 w 2"/>
              <a:gd name="T7" fmla="*/ 2147483647 h 2"/>
              <a:gd name="T8" fmla="*/ 2147483647 w 2"/>
              <a:gd name="T9" fmla="*/ 2147483647 h 2"/>
              <a:gd name="T10" fmla="*/ 2147483647 w 2"/>
              <a:gd name="T11" fmla="*/ 0 h 2"/>
              <a:gd name="T12" fmla="*/ 2147483647 w 2"/>
              <a:gd name="T13" fmla="*/ 0 h 2"/>
              <a:gd name="T14" fmla="*/ 2147483647 w 2"/>
              <a:gd name="T15" fmla="*/ 0 h 2"/>
              <a:gd name="T16" fmla="*/ 0 w 2"/>
              <a:gd name="T17" fmla="*/ 0 h 2"/>
              <a:gd name="T18" fmla="*/ 0 w 2"/>
              <a:gd name="T19" fmla="*/ 2147483647 h 2"/>
              <a:gd name="T20" fmla="*/ 0 w 2"/>
              <a:gd name="T21" fmla="*/ 2147483647 h 2"/>
              <a:gd name="T22" fmla="*/ 2147483647 w 2"/>
              <a:gd name="T23" fmla="*/ 0 h 2"/>
              <a:gd name="T24" fmla="*/ 2147483647 w 2"/>
              <a:gd name="T25" fmla="*/ 0 h 2"/>
              <a:gd name="T26" fmla="*/ 2147483647 w 2"/>
              <a:gd name="T27" fmla="*/ 0 h 2"/>
              <a:gd name="T28" fmla="*/ 2147483647 w 2"/>
              <a:gd name="T29" fmla="*/ 2147483647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2147483647 h 2"/>
              <a:gd name="T38" fmla="*/ 0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2147483647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2147483647 w 2"/>
              <a:gd name="T53" fmla="*/ 2147483647 h 2"/>
              <a:gd name="T54" fmla="*/ 2147483647 w 2"/>
              <a:gd name="T55" fmla="*/ 2147483647 h 2"/>
              <a:gd name="T56" fmla="*/ 2147483647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3" name="Freeform 1134">
            <a:extLst>
              <a:ext uri="{FF2B5EF4-FFF2-40B4-BE49-F238E27FC236}">
                <a16:creationId xmlns:a16="http://schemas.microsoft.com/office/drawing/2014/main" id="{D080D1D2-0FD4-4749-86F5-4CFA990E6F0F}"/>
              </a:ext>
            </a:extLst>
          </p:cNvPr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>
              <a:gd name="T0" fmla="*/ 2147483647 w 2"/>
              <a:gd name="T1" fmla="*/ 2147483647 h 4"/>
              <a:gd name="T2" fmla="*/ 2147483647 w 2"/>
              <a:gd name="T3" fmla="*/ 2147483647 h 4"/>
              <a:gd name="T4" fmla="*/ 2147483647 w 2"/>
              <a:gd name="T5" fmla="*/ 2147483647 h 4"/>
              <a:gd name="T6" fmla="*/ 2147483647 w 2"/>
              <a:gd name="T7" fmla="*/ 2147483647 h 4"/>
              <a:gd name="T8" fmla="*/ 2147483647 w 2"/>
              <a:gd name="T9" fmla="*/ 0 h 4"/>
              <a:gd name="T10" fmla="*/ 2147483647 w 2"/>
              <a:gd name="T11" fmla="*/ 0 h 4"/>
              <a:gd name="T12" fmla="*/ 2147483647 w 2"/>
              <a:gd name="T13" fmla="*/ 0 h 4"/>
              <a:gd name="T14" fmla="*/ 0 w 2"/>
              <a:gd name="T15" fmla="*/ 2147483647 h 4"/>
              <a:gd name="T16" fmla="*/ 2147483647 w 2"/>
              <a:gd name="T17" fmla="*/ 2147483647 h 4"/>
              <a:gd name="T18" fmla="*/ 2147483647 w 2"/>
              <a:gd name="T19" fmla="*/ 2147483647 h 4"/>
              <a:gd name="T20" fmla="*/ 2147483647 w 2"/>
              <a:gd name="T21" fmla="*/ 2147483647 h 4"/>
              <a:gd name="T22" fmla="*/ 2147483647 w 2"/>
              <a:gd name="T23" fmla="*/ 0 h 4"/>
              <a:gd name="T24" fmla="*/ 2147483647 w 2"/>
              <a:gd name="T25" fmla="*/ 2147483647 h 4"/>
              <a:gd name="T26" fmla="*/ 2147483647 w 2"/>
              <a:gd name="T27" fmla="*/ 2147483647 h 4"/>
              <a:gd name="T28" fmla="*/ 2147483647 w 2"/>
              <a:gd name="T29" fmla="*/ 2147483647 h 4"/>
              <a:gd name="T30" fmla="*/ 2147483647 w 2"/>
              <a:gd name="T31" fmla="*/ 2147483647 h 4"/>
              <a:gd name="T32" fmla="*/ 2147483647 w 2"/>
              <a:gd name="T33" fmla="*/ 2147483647 h 4"/>
              <a:gd name="T34" fmla="*/ 2147483647 w 2"/>
              <a:gd name="T35" fmla="*/ 2147483647 h 4"/>
              <a:gd name="T36" fmla="*/ 2147483647 w 2"/>
              <a:gd name="T37" fmla="*/ 2147483647 h 4"/>
              <a:gd name="T38" fmla="*/ 2147483647 w 2"/>
              <a:gd name="T39" fmla="*/ 2147483647 h 4"/>
              <a:gd name="T40" fmla="*/ 2147483647 w 2"/>
              <a:gd name="T41" fmla="*/ 2147483647 h 4"/>
              <a:gd name="T42" fmla="*/ 2147483647 w 2"/>
              <a:gd name="T43" fmla="*/ 2147483647 h 4"/>
              <a:gd name="T44" fmla="*/ 2147483647 w 2"/>
              <a:gd name="T45" fmla="*/ 2147483647 h 4"/>
              <a:gd name="T46" fmla="*/ 2147483647 w 2"/>
              <a:gd name="T47" fmla="*/ 2147483647 h 4"/>
              <a:gd name="T48" fmla="*/ 2147483647 w 2"/>
              <a:gd name="T49" fmla="*/ 2147483647 h 4"/>
              <a:gd name="T50" fmla="*/ 2147483647 w 2"/>
              <a:gd name="T51" fmla="*/ 2147483647 h 4"/>
              <a:gd name="T52" fmla="*/ 0 w 2"/>
              <a:gd name="T53" fmla="*/ 2147483647 h 4"/>
              <a:gd name="T54" fmla="*/ 2147483647 w 2"/>
              <a:gd name="T55" fmla="*/ 2147483647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4" name="Freeform 1141">
            <a:extLst>
              <a:ext uri="{FF2B5EF4-FFF2-40B4-BE49-F238E27FC236}">
                <a16:creationId xmlns:a16="http://schemas.microsoft.com/office/drawing/2014/main" id="{1F81CC65-6C01-4E10-AB84-637D422009A7}"/>
              </a:ext>
            </a:extLst>
          </p:cNvPr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>
              <a:gd name="T0" fmla="*/ 0 w 1587"/>
              <a:gd name="T1" fmla="*/ 2147483647 h 4"/>
              <a:gd name="T2" fmla="*/ 0 w 1587"/>
              <a:gd name="T3" fmla="*/ 2147483647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2147483647 h 4"/>
              <a:gd name="T10" fmla="*/ 0 w 1587"/>
              <a:gd name="T11" fmla="*/ 2147483647 h 4"/>
              <a:gd name="T12" fmla="*/ 0 w 1587"/>
              <a:gd name="T13" fmla="*/ 2147483647 h 4"/>
              <a:gd name="T14" fmla="*/ 0 w 1587"/>
              <a:gd name="T15" fmla="*/ 2147483647 h 4"/>
              <a:gd name="T16" fmla="*/ 0 w 1587"/>
              <a:gd name="T17" fmla="*/ 2147483647 h 4"/>
              <a:gd name="T18" fmla="*/ 0 w 1587"/>
              <a:gd name="T19" fmla="*/ 2147483647 h 4"/>
              <a:gd name="T20" fmla="*/ 0 w 1587"/>
              <a:gd name="T21" fmla="*/ 2147483647 h 4"/>
              <a:gd name="T22" fmla="*/ 0 w 1587"/>
              <a:gd name="T23" fmla="*/ 2147483647 h 4"/>
              <a:gd name="T24" fmla="*/ 0 w 1587"/>
              <a:gd name="T25" fmla="*/ 2147483647 h 4"/>
              <a:gd name="T26" fmla="*/ 0 w 1587"/>
              <a:gd name="T27" fmla="*/ 2147483647 h 4"/>
              <a:gd name="T28" fmla="*/ 0 w 1587"/>
              <a:gd name="T29" fmla="*/ 2147483647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5" name="Freeform 1148">
            <a:extLst>
              <a:ext uri="{FF2B5EF4-FFF2-40B4-BE49-F238E27FC236}">
                <a16:creationId xmlns:a16="http://schemas.microsoft.com/office/drawing/2014/main" id="{27BACB60-EACB-48D7-A438-A599CDBA9BF7}"/>
              </a:ext>
            </a:extLst>
          </p:cNvPr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>
              <a:gd name="T0" fmla="*/ 2147483647 w 2"/>
              <a:gd name="T1" fmla="*/ 2147483647 h 2"/>
              <a:gd name="T2" fmla="*/ 2147483647 w 2"/>
              <a:gd name="T3" fmla="*/ 0 h 2"/>
              <a:gd name="T4" fmla="*/ 2147483647 w 2"/>
              <a:gd name="T5" fmla="*/ 0 h 2"/>
              <a:gd name="T6" fmla="*/ 2147483647 w 2"/>
              <a:gd name="T7" fmla="*/ 0 h 2"/>
              <a:gd name="T8" fmla="*/ 2147483647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2147483647 h 2"/>
              <a:gd name="T16" fmla="*/ 0 w 2"/>
              <a:gd name="T17" fmla="*/ 2147483647 h 2"/>
              <a:gd name="T18" fmla="*/ 0 w 2"/>
              <a:gd name="T19" fmla="*/ 2147483647 h 2"/>
              <a:gd name="T20" fmla="*/ 2147483647 w 2"/>
              <a:gd name="T21" fmla="*/ 2147483647 h 2"/>
              <a:gd name="T22" fmla="*/ 2147483647 w 2"/>
              <a:gd name="T23" fmla="*/ 2147483647 h 2"/>
              <a:gd name="T24" fmla="*/ 2147483647 w 2"/>
              <a:gd name="T25" fmla="*/ 0 h 2"/>
              <a:gd name="T26" fmla="*/ 2147483647 w 2"/>
              <a:gd name="T27" fmla="*/ 0 h 2"/>
              <a:gd name="T28" fmla="*/ 2147483647 w 2"/>
              <a:gd name="T29" fmla="*/ 0 h 2"/>
              <a:gd name="T30" fmla="*/ 0 w 2"/>
              <a:gd name="T31" fmla="*/ 2147483647 h 2"/>
              <a:gd name="T32" fmla="*/ 2147483647 w 2"/>
              <a:gd name="T33" fmla="*/ 2147483647 h 2"/>
              <a:gd name="T34" fmla="*/ 2147483647 w 2"/>
              <a:gd name="T35" fmla="*/ 0 h 2"/>
              <a:gd name="T36" fmla="*/ 0 w 2"/>
              <a:gd name="T37" fmla="*/ 2147483647 h 2"/>
              <a:gd name="T38" fmla="*/ 2147483647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0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0 w 2"/>
              <a:gd name="T53" fmla="*/ 2147483647 h 2"/>
              <a:gd name="T54" fmla="*/ 0 w 2"/>
              <a:gd name="T55" fmla="*/ 2147483647 h 2"/>
              <a:gd name="T56" fmla="*/ 0 w 2"/>
              <a:gd name="T57" fmla="*/ 2147483647 h 2"/>
              <a:gd name="T58" fmla="*/ 2147483647 w 2"/>
              <a:gd name="T59" fmla="*/ 2147483647 h 2"/>
              <a:gd name="T60" fmla="*/ 2147483647 w 2"/>
              <a:gd name="T61" fmla="*/ 2147483647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6" name="Freeform 1150">
            <a:extLst>
              <a:ext uri="{FF2B5EF4-FFF2-40B4-BE49-F238E27FC236}">
                <a16:creationId xmlns:a16="http://schemas.microsoft.com/office/drawing/2014/main" id="{4A5CBFD5-0D61-4DEA-8C98-52069A627B16}"/>
              </a:ext>
            </a:extLst>
          </p:cNvPr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>
              <a:gd name="T0" fmla="*/ 0 w 1587"/>
              <a:gd name="T1" fmla="*/ 2147483647 h 2"/>
              <a:gd name="T2" fmla="*/ 0 w 1587"/>
              <a:gd name="T3" fmla="*/ 0 h 2"/>
              <a:gd name="T4" fmla="*/ 0 w 1587"/>
              <a:gd name="T5" fmla="*/ 2147483647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7" name="Freeform 1152">
            <a:extLst>
              <a:ext uri="{FF2B5EF4-FFF2-40B4-BE49-F238E27FC236}">
                <a16:creationId xmlns:a16="http://schemas.microsoft.com/office/drawing/2014/main" id="{F9D75C7C-0F72-4947-A182-13BA599D38C8}"/>
              </a:ext>
            </a:extLst>
          </p:cNvPr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>
              <a:gd name="T0" fmla="*/ 2147483647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2147483647 h 2"/>
              <a:gd name="T10" fmla="*/ 2147483647 w 2"/>
              <a:gd name="T11" fmla="*/ 2147483647 h 2"/>
              <a:gd name="T12" fmla="*/ 2147483647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2147483647 h 2"/>
              <a:gd name="T22" fmla="*/ 2147483647 w 2"/>
              <a:gd name="T23" fmla="*/ 2147483647 h 2"/>
              <a:gd name="T24" fmla="*/ 2147483647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8" name="Freeform 1154">
            <a:extLst>
              <a:ext uri="{FF2B5EF4-FFF2-40B4-BE49-F238E27FC236}">
                <a16:creationId xmlns:a16="http://schemas.microsoft.com/office/drawing/2014/main" id="{C8EEFCC4-99FD-4FD2-8296-A4DAE6520EEA}"/>
              </a:ext>
            </a:extLst>
          </p:cNvPr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>
              <a:gd name="T0" fmla="*/ 2147483647 w 2"/>
              <a:gd name="T1" fmla="*/ 0 h 1588"/>
              <a:gd name="T2" fmla="*/ 0 w 2"/>
              <a:gd name="T3" fmla="*/ 0 h 1588"/>
              <a:gd name="T4" fmla="*/ 2147483647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9" name="Freeform 1156">
            <a:extLst>
              <a:ext uri="{FF2B5EF4-FFF2-40B4-BE49-F238E27FC236}">
                <a16:creationId xmlns:a16="http://schemas.microsoft.com/office/drawing/2014/main" id="{0E1EFA4F-C800-46CE-BF3D-53CFAB639FB4}"/>
              </a:ext>
            </a:extLst>
          </p:cNvPr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>
              <a:gd name="T0" fmla="*/ 2147483647 w 2"/>
              <a:gd name="T1" fmla="*/ 2147483647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2147483647 h 2"/>
              <a:gd name="T8" fmla="*/ 2147483647 w 2"/>
              <a:gd name="T9" fmla="*/ 2147483647 h 2"/>
              <a:gd name="T10" fmla="*/ 2147483647 w 2"/>
              <a:gd name="T11" fmla="*/ 2147483647 h 2"/>
              <a:gd name="T12" fmla="*/ 2147483647 w 2"/>
              <a:gd name="T13" fmla="*/ 2147483647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2147483647 h 2"/>
              <a:gd name="T20" fmla="*/ 2147483647 w 2"/>
              <a:gd name="T21" fmla="*/ 2147483647 h 2"/>
              <a:gd name="T22" fmla="*/ 2147483647 w 2"/>
              <a:gd name="T23" fmla="*/ 2147483647 h 2"/>
              <a:gd name="T24" fmla="*/ 2147483647 w 2"/>
              <a:gd name="T25" fmla="*/ 2147483647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" name="Freeform 1163">
            <a:extLst>
              <a:ext uri="{FF2B5EF4-FFF2-40B4-BE49-F238E27FC236}">
                <a16:creationId xmlns:a16="http://schemas.microsoft.com/office/drawing/2014/main" id="{D0BC8ED6-B24C-463E-B95C-91E670194707}"/>
              </a:ext>
            </a:extLst>
          </p:cNvPr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>
              <a:gd name="T0" fmla="*/ 2147483647 w 4"/>
              <a:gd name="T1" fmla="*/ 2147483647 h 2"/>
              <a:gd name="T2" fmla="*/ 2147483647 w 4"/>
              <a:gd name="T3" fmla="*/ 2147483647 h 2"/>
              <a:gd name="T4" fmla="*/ 2147483647 w 4"/>
              <a:gd name="T5" fmla="*/ 2147483647 h 2"/>
              <a:gd name="T6" fmla="*/ 2147483647 w 4"/>
              <a:gd name="T7" fmla="*/ 0 h 2"/>
              <a:gd name="T8" fmla="*/ 2147483647 w 4"/>
              <a:gd name="T9" fmla="*/ 0 h 2"/>
              <a:gd name="T10" fmla="*/ 2147483647 w 4"/>
              <a:gd name="T11" fmla="*/ 0 h 2"/>
              <a:gd name="T12" fmla="*/ 2147483647 w 4"/>
              <a:gd name="T13" fmla="*/ 0 h 2"/>
              <a:gd name="T14" fmla="*/ 0 w 4"/>
              <a:gd name="T15" fmla="*/ 2147483647 h 2"/>
              <a:gd name="T16" fmla="*/ 2147483647 w 4"/>
              <a:gd name="T17" fmla="*/ 2147483647 h 2"/>
              <a:gd name="T18" fmla="*/ 2147483647 w 4"/>
              <a:gd name="T19" fmla="*/ 0 h 2"/>
              <a:gd name="T20" fmla="*/ 2147483647 w 4"/>
              <a:gd name="T21" fmla="*/ 2147483647 h 2"/>
              <a:gd name="T22" fmla="*/ 2147483647 w 4"/>
              <a:gd name="T23" fmla="*/ 0 h 2"/>
              <a:gd name="T24" fmla="*/ 2147483647 w 4"/>
              <a:gd name="T25" fmla="*/ 0 h 2"/>
              <a:gd name="T26" fmla="*/ 2147483647 w 4"/>
              <a:gd name="T27" fmla="*/ 0 h 2"/>
              <a:gd name="T28" fmla="*/ 2147483647 w 4"/>
              <a:gd name="T29" fmla="*/ 0 h 2"/>
              <a:gd name="T30" fmla="*/ 0 w 4"/>
              <a:gd name="T31" fmla="*/ 0 h 2"/>
              <a:gd name="T32" fmla="*/ 2147483647 w 4"/>
              <a:gd name="T33" fmla="*/ 2147483647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" name="Freeform 1172">
            <a:extLst>
              <a:ext uri="{FF2B5EF4-FFF2-40B4-BE49-F238E27FC236}">
                <a16:creationId xmlns:a16="http://schemas.microsoft.com/office/drawing/2014/main" id="{752E1205-A3F1-46DF-9156-7ED9A56768E7}"/>
              </a:ext>
            </a:extLst>
          </p:cNvPr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2147483647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2147483647 h 2"/>
              <a:gd name="T14" fmla="*/ 0 w 2"/>
              <a:gd name="T15" fmla="*/ 2147483647 h 2"/>
              <a:gd name="T16" fmla="*/ 0 w 2"/>
              <a:gd name="T17" fmla="*/ 2147483647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0 w 2"/>
              <a:gd name="T25" fmla="*/ 2147483647 h 2"/>
              <a:gd name="T26" fmla="*/ 0 w 2"/>
              <a:gd name="T27" fmla="*/ 2147483647 h 2"/>
              <a:gd name="T28" fmla="*/ 0 w 2"/>
              <a:gd name="T29" fmla="*/ 2147483647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2147483647 h 2"/>
              <a:gd name="T38" fmla="*/ 0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0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0 w 2"/>
              <a:gd name="T53" fmla="*/ 2147483647 h 2"/>
              <a:gd name="T54" fmla="*/ 0 w 2"/>
              <a:gd name="T55" fmla="*/ 2147483647 h 2"/>
              <a:gd name="T56" fmla="*/ 0 w 2"/>
              <a:gd name="T57" fmla="*/ 2147483647 h 2"/>
              <a:gd name="T58" fmla="*/ 0 w 2"/>
              <a:gd name="T59" fmla="*/ 2147483647 h 2"/>
              <a:gd name="T60" fmla="*/ 0 w 2"/>
              <a:gd name="T61" fmla="*/ 2147483647 h 2"/>
              <a:gd name="T62" fmla="*/ 0 w 2"/>
              <a:gd name="T63" fmla="*/ 2147483647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" name="Freeform 1177">
            <a:extLst>
              <a:ext uri="{FF2B5EF4-FFF2-40B4-BE49-F238E27FC236}">
                <a16:creationId xmlns:a16="http://schemas.microsoft.com/office/drawing/2014/main" id="{D17374B4-476A-4218-A172-5B3617193BBC}"/>
              </a:ext>
            </a:extLst>
          </p:cNvPr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>
              <a:gd name="T0" fmla="*/ 0 w 2"/>
              <a:gd name="T1" fmla="*/ 2147483647 h 2"/>
              <a:gd name="T2" fmla="*/ 2147483647 w 2"/>
              <a:gd name="T3" fmla="*/ 2147483647 h 2"/>
              <a:gd name="T4" fmla="*/ 2147483647 w 2"/>
              <a:gd name="T5" fmla="*/ 2147483647 h 2"/>
              <a:gd name="T6" fmla="*/ 2147483647 w 2"/>
              <a:gd name="T7" fmla="*/ 0 h 2"/>
              <a:gd name="T8" fmla="*/ 2147483647 w 2"/>
              <a:gd name="T9" fmla="*/ 0 h 2"/>
              <a:gd name="T10" fmla="*/ 2147483647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2147483647 h 2"/>
              <a:gd name="T40" fmla="*/ 0 w 2"/>
              <a:gd name="T41" fmla="*/ 2147483647 h 2"/>
              <a:gd name="T42" fmla="*/ 2147483647 w 2"/>
              <a:gd name="T43" fmla="*/ 2147483647 h 2"/>
              <a:gd name="T44" fmla="*/ 2147483647 w 2"/>
              <a:gd name="T45" fmla="*/ 0 h 2"/>
              <a:gd name="T46" fmla="*/ 2147483647 w 2"/>
              <a:gd name="T47" fmla="*/ 0 h 2"/>
              <a:gd name="T48" fmla="*/ 2147483647 w 2"/>
              <a:gd name="T49" fmla="*/ 0 h 2"/>
              <a:gd name="T50" fmla="*/ 2147483647 w 2"/>
              <a:gd name="T51" fmla="*/ 0 h 2"/>
              <a:gd name="T52" fmla="*/ 2147483647 w 2"/>
              <a:gd name="T53" fmla="*/ 0 h 2"/>
              <a:gd name="T54" fmla="*/ 2147483647 w 2"/>
              <a:gd name="T55" fmla="*/ 0 h 2"/>
              <a:gd name="T56" fmla="*/ 2147483647 w 2"/>
              <a:gd name="T57" fmla="*/ 0 h 2"/>
              <a:gd name="T58" fmla="*/ 2147483647 w 2"/>
              <a:gd name="T59" fmla="*/ 0 h 2"/>
              <a:gd name="T60" fmla="*/ 2147483647 w 2"/>
              <a:gd name="T61" fmla="*/ 0 h 2"/>
              <a:gd name="T62" fmla="*/ 2147483647 w 2"/>
              <a:gd name="T63" fmla="*/ 0 h 2"/>
              <a:gd name="T64" fmla="*/ 2147483647 w 2"/>
              <a:gd name="T65" fmla="*/ 0 h 2"/>
              <a:gd name="T66" fmla="*/ 2147483647 w 2"/>
              <a:gd name="T67" fmla="*/ 2147483647 h 2"/>
              <a:gd name="T68" fmla="*/ 2147483647 w 2"/>
              <a:gd name="T69" fmla="*/ 0 h 2"/>
              <a:gd name="T70" fmla="*/ 2147483647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2147483647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" name="Freeform 1180">
            <a:extLst>
              <a:ext uri="{FF2B5EF4-FFF2-40B4-BE49-F238E27FC236}">
                <a16:creationId xmlns:a16="http://schemas.microsoft.com/office/drawing/2014/main" id="{9F028583-84F8-4EC3-AC24-F39C7F76394D}"/>
              </a:ext>
            </a:extLst>
          </p:cNvPr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>
              <a:gd name="T0" fmla="*/ 0 w 2"/>
              <a:gd name="T1" fmla="*/ 2147483647 h 3"/>
              <a:gd name="T2" fmla="*/ 0 w 2"/>
              <a:gd name="T3" fmla="*/ 2147483647 h 3"/>
              <a:gd name="T4" fmla="*/ 2147483647 w 2"/>
              <a:gd name="T5" fmla="*/ 2147483647 h 3"/>
              <a:gd name="T6" fmla="*/ 2147483647 w 2"/>
              <a:gd name="T7" fmla="*/ 2147483647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2147483647 h 3"/>
              <a:gd name="T16" fmla="*/ 0 w 2"/>
              <a:gd name="T17" fmla="*/ 2147483647 h 3"/>
              <a:gd name="T18" fmla="*/ 0 w 2"/>
              <a:gd name="T19" fmla="*/ 2147483647 h 3"/>
              <a:gd name="T20" fmla="*/ 0 w 2"/>
              <a:gd name="T21" fmla="*/ 2147483647 h 3"/>
              <a:gd name="T22" fmla="*/ 0 w 2"/>
              <a:gd name="T23" fmla="*/ 0 h 3"/>
              <a:gd name="T24" fmla="*/ 0 w 2"/>
              <a:gd name="T25" fmla="*/ 2147483647 h 3"/>
              <a:gd name="T26" fmla="*/ 0 w 2"/>
              <a:gd name="T27" fmla="*/ 2147483647 h 3"/>
              <a:gd name="T28" fmla="*/ 0 w 2"/>
              <a:gd name="T29" fmla="*/ 2147483647 h 3"/>
              <a:gd name="T30" fmla="*/ 0 w 2"/>
              <a:gd name="T31" fmla="*/ 2147483647 h 3"/>
              <a:gd name="T32" fmla="*/ 0 w 2"/>
              <a:gd name="T33" fmla="*/ 2147483647 h 3"/>
              <a:gd name="T34" fmla="*/ 0 w 2"/>
              <a:gd name="T35" fmla="*/ 2147483647 h 3"/>
              <a:gd name="T36" fmla="*/ 0 w 2"/>
              <a:gd name="T37" fmla="*/ 2147483647 h 3"/>
              <a:gd name="T38" fmla="*/ 0 w 2"/>
              <a:gd name="T39" fmla="*/ 2147483647 h 3"/>
              <a:gd name="T40" fmla="*/ 0 w 2"/>
              <a:gd name="T41" fmla="*/ 2147483647 h 3"/>
              <a:gd name="T42" fmla="*/ 0 w 2"/>
              <a:gd name="T43" fmla="*/ 2147483647 h 3"/>
              <a:gd name="T44" fmla="*/ 0 w 2"/>
              <a:gd name="T45" fmla="*/ 2147483647 h 3"/>
              <a:gd name="T46" fmla="*/ 0 w 2"/>
              <a:gd name="T47" fmla="*/ 2147483647 h 3"/>
              <a:gd name="T48" fmla="*/ 0 w 2"/>
              <a:gd name="T49" fmla="*/ 2147483647 h 3"/>
              <a:gd name="T50" fmla="*/ 0 w 2"/>
              <a:gd name="T51" fmla="*/ 2147483647 h 3"/>
              <a:gd name="T52" fmla="*/ 0 w 2"/>
              <a:gd name="T53" fmla="*/ 2147483647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" name="Line 1187">
            <a:extLst>
              <a:ext uri="{FF2B5EF4-FFF2-40B4-BE49-F238E27FC236}">
                <a16:creationId xmlns:a16="http://schemas.microsoft.com/office/drawing/2014/main" id="{7C3CC87D-A8F0-4BA1-8C1E-8ACD74D0A6A9}"/>
              </a:ext>
            </a:extLst>
          </p:cNvPr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" name="Line 1188">
            <a:extLst>
              <a:ext uri="{FF2B5EF4-FFF2-40B4-BE49-F238E27FC236}">
                <a16:creationId xmlns:a16="http://schemas.microsoft.com/office/drawing/2014/main" id="{40D36F21-63E6-4304-812E-5B2B6B9B48AC}"/>
              </a:ext>
            </a:extLst>
          </p:cNvPr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6" name="Freeform 1208">
            <a:extLst>
              <a:ext uri="{FF2B5EF4-FFF2-40B4-BE49-F238E27FC236}">
                <a16:creationId xmlns:a16="http://schemas.microsoft.com/office/drawing/2014/main" id="{5FCE5033-8E2A-466E-8E91-D921563B3D96}"/>
              </a:ext>
            </a:extLst>
          </p:cNvPr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7" name="Freeform 1210">
            <a:extLst>
              <a:ext uri="{FF2B5EF4-FFF2-40B4-BE49-F238E27FC236}">
                <a16:creationId xmlns:a16="http://schemas.microsoft.com/office/drawing/2014/main" id="{D8F79057-6BF8-4541-8180-7B909F4CB7A4}"/>
              </a:ext>
            </a:extLst>
          </p:cNvPr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2147483647 h 2"/>
              <a:gd name="T6" fmla="*/ 2147483647 w 2"/>
              <a:gd name="T7" fmla="*/ 0 h 2"/>
              <a:gd name="T8" fmla="*/ 2147483647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2147483647 h 2"/>
              <a:gd name="T18" fmla="*/ 0 w 2"/>
              <a:gd name="T19" fmla="*/ 2147483647 h 2"/>
              <a:gd name="T20" fmla="*/ 2147483647 w 2"/>
              <a:gd name="T21" fmla="*/ 2147483647 h 2"/>
              <a:gd name="T22" fmla="*/ 2147483647 w 2"/>
              <a:gd name="T23" fmla="*/ 0 h 2"/>
              <a:gd name="T24" fmla="*/ 2147483647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2147483647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8" name="Freeform 1214">
            <a:extLst>
              <a:ext uri="{FF2B5EF4-FFF2-40B4-BE49-F238E27FC236}">
                <a16:creationId xmlns:a16="http://schemas.microsoft.com/office/drawing/2014/main" id="{4FFD1152-F594-471D-82B4-F332F94D1AE0}"/>
              </a:ext>
            </a:extLst>
          </p:cNvPr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2147483647 h 2"/>
              <a:gd name="T2" fmla="*/ 2147483647 w 2"/>
              <a:gd name="T3" fmla="*/ 2147483647 h 2"/>
              <a:gd name="T4" fmla="*/ 0 w 2"/>
              <a:gd name="T5" fmla="*/ 0 h 2"/>
              <a:gd name="T6" fmla="*/ 0 w 2"/>
              <a:gd name="T7" fmla="*/ 2147483647 h 2"/>
              <a:gd name="T8" fmla="*/ 0 w 2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9" name="Rectangle 1215">
            <a:extLst>
              <a:ext uri="{FF2B5EF4-FFF2-40B4-BE49-F238E27FC236}">
                <a16:creationId xmlns:a16="http://schemas.microsoft.com/office/drawing/2014/main" id="{7B593E49-2670-4DB6-BA06-5C7FCC7D80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30" name="Freeform 1217">
            <a:extLst>
              <a:ext uri="{FF2B5EF4-FFF2-40B4-BE49-F238E27FC236}">
                <a16:creationId xmlns:a16="http://schemas.microsoft.com/office/drawing/2014/main" id="{5096E5AF-8F41-49AF-9601-A2D31AC43D3E}"/>
              </a:ext>
            </a:extLst>
          </p:cNvPr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1" name="Freeform 1219">
            <a:extLst>
              <a:ext uri="{FF2B5EF4-FFF2-40B4-BE49-F238E27FC236}">
                <a16:creationId xmlns:a16="http://schemas.microsoft.com/office/drawing/2014/main" id="{85A10230-695A-4CE7-B7BA-DF8C77AA28EA}"/>
              </a:ext>
            </a:extLst>
          </p:cNvPr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" name="Freeform 1221">
            <a:extLst>
              <a:ext uri="{FF2B5EF4-FFF2-40B4-BE49-F238E27FC236}">
                <a16:creationId xmlns:a16="http://schemas.microsoft.com/office/drawing/2014/main" id="{62CEC189-54BF-4E7A-8E2B-AA9A0D3A7B15}"/>
              </a:ext>
            </a:extLst>
          </p:cNvPr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>
              <a:gd name="T0" fmla="*/ 2147483647 w 2"/>
              <a:gd name="T1" fmla="*/ 0 h 2"/>
              <a:gd name="T2" fmla="*/ 2147483647 w 2"/>
              <a:gd name="T3" fmla="*/ 0 h 2"/>
              <a:gd name="T4" fmla="*/ 2147483647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2147483647 h 2"/>
              <a:gd name="T12" fmla="*/ 2147483647 w 2"/>
              <a:gd name="T13" fmla="*/ 0 h 2"/>
              <a:gd name="T14" fmla="*/ 2147483647 w 2"/>
              <a:gd name="T15" fmla="*/ 0 h 2"/>
              <a:gd name="T16" fmla="*/ 2147483647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2147483647 h 2"/>
              <a:gd name="T24" fmla="*/ 2147483647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3" name="Freeform 1234">
            <a:extLst>
              <a:ext uri="{FF2B5EF4-FFF2-40B4-BE49-F238E27FC236}">
                <a16:creationId xmlns:a16="http://schemas.microsoft.com/office/drawing/2014/main" id="{FDB93DC5-8EA5-4A47-8B7B-F245F8EA16D9}"/>
              </a:ext>
            </a:extLst>
          </p:cNvPr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2147483647 w 2"/>
              <a:gd name="T5" fmla="*/ 0 h 1587"/>
              <a:gd name="T6" fmla="*/ 2147483647 w 2"/>
              <a:gd name="T7" fmla="*/ 0 h 1587"/>
              <a:gd name="T8" fmla="*/ 2147483647 w 2"/>
              <a:gd name="T9" fmla="*/ 0 h 1587"/>
              <a:gd name="T10" fmla="*/ 2147483647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2147483647 w 2"/>
              <a:gd name="T25" fmla="*/ 0 h 1587"/>
              <a:gd name="T26" fmla="*/ 2147483647 w 2"/>
              <a:gd name="T27" fmla="*/ 0 h 1587"/>
              <a:gd name="T28" fmla="*/ 2147483647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2147483647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4" name="Line 1237">
            <a:extLst>
              <a:ext uri="{FF2B5EF4-FFF2-40B4-BE49-F238E27FC236}">
                <a16:creationId xmlns:a16="http://schemas.microsoft.com/office/drawing/2014/main" id="{E5B215D6-AB55-40A7-A3B3-F7847A53A5E3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5" name="Line 1238">
            <a:extLst>
              <a:ext uri="{FF2B5EF4-FFF2-40B4-BE49-F238E27FC236}">
                <a16:creationId xmlns:a16="http://schemas.microsoft.com/office/drawing/2014/main" id="{C9FA6622-F1E7-47BE-9A86-EE4AE24EE9B9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6" name="Freeform 1240">
            <a:extLst>
              <a:ext uri="{FF2B5EF4-FFF2-40B4-BE49-F238E27FC236}">
                <a16:creationId xmlns:a16="http://schemas.microsoft.com/office/drawing/2014/main" id="{A28A83BF-2CF8-489B-818F-DE9E66B29D26}"/>
              </a:ext>
            </a:extLst>
          </p:cNvPr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>
              <a:gd name="T0" fmla="*/ 0 w 1587"/>
              <a:gd name="T1" fmla="*/ 2147483647 h 2"/>
              <a:gd name="T2" fmla="*/ 0 w 1587"/>
              <a:gd name="T3" fmla="*/ 2147483647 h 2"/>
              <a:gd name="T4" fmla="*/ 0 w 1587"/>
              <a:gd name="T5" fmla="*/ 0 h 2"/>
              <a:gd name="T6" fmla="*/ 0 w 1587"/>
              <a:gd name="T7" fmla="*/ 2147483647 h 2"/>
              <a:gd name="T8" fmla="*/ 0 w 1587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7" name="Freeform 1243">
            <a:extLst>
              <a:ext uri="{FF2B5EF4-FFF2-40B4-BE49-F238E27FC236}">
                <a16:creationId xmlns:a16="http://schemas.microsoft.com/office/drawing/2014/main" id="{5DEA8D7E-636C-414C-9A79-5855329DD1E1}"/>
              </a:ext>
            </a:extLst>
          </p:cNvPr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>
              <a:gd name="T0" fmla="*/ 2147483647 w 2"/>
              <a:gd name="T1" fmla="*/ 2147483647 h 2"/>
              <a:gd name="T2" fmla="*/ 2147483647 w 2"/>
              <a:gd name="T3" fmla="*/ 2147483647 h 2"/>
              <a:gd name="T4" fmla="*/ 2147483647 w 2"/>
              <a:gd name="T5" fmla="*/ 2147483647 h 2"/>
              <a:gd name="T6" fmla="*/ 2147483647 w 2"/>
              <a:gd name="T7" fmla="*/ 2147483647 h 2"/>
              <a:gd name="T8" fmla="*/ 0 w 2"/>
              <a:gd name="T9" fmla="*/ 2147483647 h 2"/>
              <a:gd name="T10" fmla="*/ 0 w 2"/>
              <a:gd name="T11" fmla="*/ 2147483647 h 2"/>
              <a:gd name="T12" fmla="*/ 2147483647 w 2"/>
              <a:gd name="T13" fmla="*/ 2147483647 h 2"/>
              <a:gd name="T14" fmla="*/ 0 w 2"/>
              <a:gd name="T15" fmla="*/ 2147483647 h 2"/>
              <a:gd name="T16" fmla="*/ 0 w 2"/>
              <a:gd name="T17" fmla="*/ 2147483647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0 w 2"/>
              <a:gd name="T25" fmla="*/ 2147483647 h 2"/>
              <a:gd name="T26" fmla="*/ 0 w 2"/>
              <a:gd name="T27" fmla="*/ 2147483647 h 2"/>
              <a:gd name="T28" fmla="*/ 0 w 2"/>
              <a:gd name="T29" fmla="*/ 2147483647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2147483647 h 2"/>
              <a:gd name="T38" fmla="*/ 2147483647 w 2"/>
              <a:gd name="T39" fmla="*/ 2147483647 h 2"/>
              <a:gd name="T40" fmla="*/ 2147483647 w 2"/>
              <a:gd name="T41" fmla="*/ 2147483647 h 2"/>
              <a:gd name="T42" fmla="*/ 2147483647 w 2"/>
              <a:gd name="T43" fmla="*/ 2147483647 h 2"/>
              <a:gd name="T44" fmla="*/ 2147483647 w 2"/>
              <a:gd name="T45" fmla="*/ 2147483647 h 2"/>
              <a:gd name="T46" fmla="*/ 2147483647 w 2"/>
              <a:gd name="T47" fmla="*/ 2147483647 h 2"/>
              <a:gd name="T48" fmla="*/ 0 w 2"/>
              <a:gd name="T49" fmla="*/ 0 h 2"/>
              <a:gd name="T50" fmla="*/ 0 w 2"/>
              <a:gd name="T51" fmla="*/ 2147483647 h 2"/>
              <a:gd name="T52" fmla="*/ 0 w 2"/>
              <a:gd name="T53" fmla="*/ 2147483647 h 2"/>
              <a:gd name="T54" fmla="*/ 0 w 2"/>
              <a:gd name="T55" fmla="*/ 2147483647 h 2"/>
              <a:gd name="T56" fmla="*/ 2147483647 w 2"/>
              <a:gd name="T57" fmla="*/ 2147483647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8" name="Freeform 1246">
            <a:extLst>
              <a:ext uri="{FF2B5EF4-FFF2-40B4-BE49-F238E27FC236}">
                <a16:creationId xmlns:a16="http://schemas.microsoft.com/office/drawing/2014/main" id="{FE4D6F85-48F2-4361-A366-72B0DCF9107D}"/>
              </a:ext>
            </a:extLst>
          </p:cNvPr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0 h 2"/>
              <a:gd name="T6" fmla="*/ 2147483647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2147483647 h 2"/>
              <a:gd name="T14" fmla="*/ 0 w 2"/>
              <a:gd name="T15" fmla="*/ 2147483647 h 2"/>
              <a:gd name="T16" fmla="*/ 2147483647 w 2"/>
              <a:gd name="T17" fmla="*/ 0 h 2"/>
              <a:gd name="T18" fmla="*/ 2147483647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2147483647 h 2"/>
              <a:gd name="T48" fmla="*/ 0 w 2"/>
              <a:gd name="T49" fmla="*/ 2147483647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9" name="Freeform 1250">
            <a:extLst>
              <a:ext uri="{FF2B5EF4-FFF2-40B4-BE49-F238E27FC236}">
                <a16:creationId xmlns:a16="http://schemas.microsoft.com/office/drawing/2014/main" id="{96356A3F-75C7-4A63-9873-FC79E70F6153}"/>
              </a:ext>
            </a:extLst>
          </p:cNvPr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>
              <a:gd name="T0" fmla="*/ 2147483647 w 2"/>
              <a:gd name="T1" fmla="*/ 0 h 1588"/>
              <a:gd name="T2" fmla="*/ 0 w 2"/>
              <a:gd name="T3" fmla="*/ 0 h 1588"/>
              <a:gd name="T4" fmla="*/ 2147483647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0" name="Freeform 1252">
            <a:extLst>
              <a:ext uri="{FF2B5EF4-FFF2-40B4-BE49-F238E27FC236}">
                <a16:creationId xmlns:a16="http://schemas.microsoft.com/office/drawing/2014/main" id="{5DAF9F12-96EA-47C4-B743-5D9B3B54F9D8}"/>
              </a:ext>
            </a:extLst>
          </p:cNvPr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>
              <a:gd name="T0" fmla="*/ 2147483647 w 2"/>
              <a:gd name="T1" fmla="*/ 2147483647 h 5"/>
              <a:gd name="T2" fmla="*/ 2147483647 w 2"/>
              <a:gd name="T3" fmla="*/ 2147483647 h 5"/>
              <a:gd name="T4" fmla="*/ 0 w 2"/>
              <a:gd name="T5" fmla="*/ 0 h 5"/>
              <a:gd name="T6" fmla="*/ 0 w 2"/>
              <a:gd name="T7" fmla="*/ 2147483647 h 5"/>
              <a:gd name="T8" fmla="*/ 0 w 2"/>
              <a:gd name="T9" fmla="*/ 2147483647 h 5"/>
              <a:gd name="T10" fmla="*/ 2147483647 w 2"/>
              <a:gd name="T11" fmla="*/ 2147483647 h 5"/>
              <a:gd name="T12" fmla="*/ 2147483647 w 2"/>
              <a:gd name="T13" fmla="*/ 2147483647 h 5"/>
              <a:gd name="T14" fmla="*/ 2147483647 w 2"/>
              <a:gd name="T15" fmla="*/ 2147483647 h 5"/>
              <a:gd name="T16" fmla="*/ 0 w 2"/>
              <a:gd name="T17" fmla="*/ 0 h 5"/>
              <a:gd name="T18" fmla="*/ 0 w 2"/>
              <a:gd name="T19" fmla="*/ 2147483647 h 5"/>
              <a:gd name="T20" fmla="*/ 0 w 2"/>
              <a:gd name="T21" fmla="*/ 2147483647 h 5"/>
              <a:gd name="T22" fmla="*/ 2147483647 w 2"/>
              <a:gd name="T23" fmla="*/ 2147483647 h 5"/>
              <a:gd name="T24" fmla="*/ 2147483647 w 2"/>
              <a:gd name="T25" fmla="*/ 2147483647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1" name="Freeform 1255">
            <a:extLst>
              <a:ext uri="{FF2B5EF4-FFF2-40B4-BE49-F238E27FC236}">
                <a16:creationId xmlns:a16="http://schemas.microsoft.com/office/drawing/2014/main" id="{5EF66D8C-5091-4D59-9DF4-91C7308C72C2}"/>
              </a:ext>
            </a:extLst>
          </p:cNvPr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2147483647 w 2"/>
              <a:gd name="T3" fmla="*/ 0 h 1587"/>
              <a:gd name="T4" fmla="*/ 2147483647 w 2"/>
              <a:gd name="T5" fmla="*/ 0 h 1587"/>
              <a:gd name="T6" fmla="*/ 2147483647 w 2"/>
              <a:gd name="T7" fmla="*/ 0 h 1587"/>
              <a:gd name="T8" fmla="*/ 2147483647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2147483647 w 2"/>
              <a:gd name="T19" fmla="*/ 0 h 1587"/>
              <a:gd name="T20" fmla="*/ 2147483647 w 2"/>
              <a:gd name="T21" fmla="*/ 0 h 1587"/>
              <a:gd name="T22" fmla="*/ 2147483647 w 2"/>
              <a:gd name="T23" fmla="*/ 0 h 1587"/>
              <a:gd name="T24" fmla="*/ 2147483647 w 2"/>
              <a:gd name="T25" fmla="*/ 0 h 1587"/>
              <a:gd name="T26" fmla="*/ 2147483647 w 2"/>
              <a:gd name="T27" fmla="*/ 0 h 1587"/>
              <a:gd name="T28" fmla="*/ 2147483647 w 2"/>
              <a:gd name="T29" fmla="*/ 0 h 1587"/>
              <a:gd name="T30" fmla="*/ 2147483647 w 2"/>
              <a:gd name="T31" fmla="*/ 0 h 1587"/>
              <a:gd name="T32" fmla="*/ 2147483647 w 2"/>
              <a:gd name="T33" fmla="*/ 0 h 1587"/>
              <a:gd name="T34" fmla="*/ 2147483647 w 2"/>
              <a:gd name="T35" fmla="*/ 0 h 1587"/>
              <a:gd name="T36" fmla="*/ 2147483647 w 2"/>
              <a:gd name="T37" fmla="*/ 0 h 1587"/>
              <a:gd name="T38" fmla="*/ 2147483647 w 2"/>
              <a:gd name="T39" fmla="*/ 0 h 1587"/>
              <a:gd name="T40" fmla="*/ 2147483647 w 2"/>
              <a:gd name="T41" fmla="*/ 0 h 1587"/>
              <a:gd name="T42" fmla="*/ 2147483647 w 2"/>
              <a:gd name="T43" fmla="*/ 0 h 1587"/>
              <a:gd name="T44" fmla="*/ 2147483647 w 2"/>
              <a:gd name="T45" fmla="*/ 0 h 1587"/>
              <a:gd name="T46" fmla="*/ 2147483647 w 2"/>
              <a:gd name="T47" fmla="*/ 0 h 1587"/>
              <a:gd name="T48" fmla="*/ 2147483647 w 2"/>
              <a:gd name="T49" fmla="*/ 0 h 1587"/>
              <a:gd name="T50" fmla="*/ 2147483647 w 2"/>
              <a:gd name="T51" fmla="*/ 0 h 1587"/>
              <a:gd name="T52" fmla="*/ 2147483647 w 2"/>
              <a:gd name="T53" fmla="*/ 0 h 1587"/>
              <a:gd name="T54" fmla="*/ 2147483647 w 2"/>
              <a:gd name="T55" fmla="*/ 0 h 1587"/>
              <a:gd name="T56" fmla="*/ 2147483647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2" name="Rectangle 1256">
            <a:extLst>
              <a:ext uri="{FF2B5EF4-FFF2-40B4-BE49-F238E27FC236}">
                <a16:creationId xmlns:a16="http://schemas.microsoft.com/office/drawing/2014/main" id="{3BE8CC15-403E-434F-AF29-6C803D096A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43" name="Freeform 1258">
            <a:extLst>
              <a:ext uri="{FF2B5EF4-FFF2-40B4-BE49-F238E27FC236}">
                <a16:creationId xmlns:a16="http://schemas.microsoft.com/office/drawing/2014/main" id="{29F2280B-3D29-4DC4-9052-A5C755B7F7E3}"/>
              </a:ext>
            </a:extLst>
          </p:cNvPr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4" name="Freeform 1266">
            <a:extLst>
              <a:ext uri="{FF2B5EF4-FFF2-40B4-BE49-F238E27FC236}">
                <a16:creationId xmlns:a16="http://schemas.microsoft.com/office/drawing/2014/main" id="{375C756E-9B95-4522-AB9E-FD7A8192223C}"/>
              </a:ext>
            </a:extLst>
          </p:cNvPr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5" name="Freeform 1269">
            <a:extLst>
              <a:ext uri="{FF2B5EF4-FFF2-40B4-BE49-F238E27FC236}">
                <a16:creationId xmlns:a16="http://schemas.microsoft.com/office/drawing/2014/main" id="{0E36EB8E-3009-4B85-89FE-E1EB397025B3}"/>
              </a:ext>
            </a:extLst>
          </p:cNvPr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>
              <a:gd name="T0" fmla="*/ 0 w 2"/>
              <a:gd name="T1" fmla="*/ 2147483647 h 3"/>
              <a:gd name="T2" fmla="*/ 2147483647 w 2"/>
              <a:gd name="T3" fmla="*/ 0 h 3"/>
              <a:gd name="T4" fmla="*/ 2147483647 w 2"/>
              <a:gd name="T5" fmla="*/ 0 h 3"/>
              <a:gd name="T6" fmla="*/ 2147483647 w 2"/>
              <a:gd name="T7" fmla="*/ 0 h 3"/>
              <a:gd name="T8" fmla="*/ 2147483647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2147483647 h 3"/>
              <a:gd name="T16" fmla="*/ 0 w 2"/>
              <a:gd name="T17" fmla="*/ 2147483647 h 3"/>
              <a:gd name="T18" fmla="*/ 2147483647 w 2"/>
              <a:gd name="T19" fmla="*/ 0 h 3"/>
              <a:gd name="T20" fmla="*/ 2147483647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2147483647 h 3"/>
              <a:gd name="T40" fmla="*/ 0 w 2"/>
              <a:gd name="T41" fmla="*/ 2147483647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6" name="Line 1270">
            <a:extLst>
              <a:ext uri="{FF2B5EF4-FFF2-40B4-BE49-F238E27FC236}">
                <a16:creationId xmlns:a16="http://schemas.microsoft.com/office/drawing/2014/main" id="{4652C408-C8DE-4AEF-84FF-04738B276A50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7" name="Line 1271">
            <a:extLst>
              <a:ext uri="{FF2B5EF4-FFF2-40B4-BE49-F238E27FC236}">
                <a16:creationId xmlns:a16="http://schemas.microsoft.com/office/drawing/2014/main" id="{65DDB928-6962-4937-807D-62A114109EFD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8" name="Rectangle 1272">
            <a:extLst>
              <a:ext uri="{FF2B5EF4-FFF2-40B4-BE49-F238E27FC236}">
                <a16:creationId xmlns:a16="http://schemas.microsoft.com/office/drawing/2014/main" id="{B11A7616-B4D3-479F-BF02-9B7026902C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49" name="Rectangle 1273">
            <a:extLst>
              <a:ext uri="{FF2B5EF4-FFF2-40B4-BE49-F238E27FC236}">
                <a16:creationId xmlns:a16="http://schemas.microsoft.com/office/drawing/2014/main" id="{24A84131-3A14-44D3-9B85-9ED77DDD05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0" name="Line 1274">
            <a:extLst>
              <a:ext uri="{FF2B5EF4-FFF2-40B4-BE49-F238E27FC236}">
                <a16:creationId xmlns:a16="http://schemas.microsoft.com/office/drawing/2014/main" id="{ED08C6BA-B7F1-4F52-8234-21CED504BBE0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1" name="Line 1275">
            <a:extLst>
              <a:ext uri="{FF2B5EF4-FFF2-40B4-BE49-F238E27FC236}">
                <a16:creationId xmlns:a16="http://schemas.microsoft.com/office/drawing/2014/main" id="{D139A433-1BF8-414C-8899-53D817A7EABD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2" name="Freeform 1277">
            <a:extLst>
              <a:ext uri="{FF2B5EF4-FFF2-40B4-BE49-F238E27FC236}">
                <a16:creationId xmlns:a16="http://schemas.microsoft.com/office/drawing/2014/main" id="{039794E7-2081-4923-81D4-EF06F6518946}"/>
              </a:ext>
            </a:extLst>
          </p:cNvPr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>
              <a:gd name="T0" fmla="*/ 0 w 1587"/>
              <a:gd name="T1" fmla="*/ 2147483647 h 2"/>
              <a:gd name="T2" fmla="*/ 0 w 1587"/>
              <a:gd name="T3" fmla="*/ 2147483647 h 2"/>
              <a:gd name="T4" fmla="*/ 0 w 1587"/>
              <a:gd name="T5" fmla="*/ 0 h 2"/>
              <a:gd name="T6" fmla="*/ 0 w 1587"/>
              <a:gd name="T7" fmla="*/ 2147483647 h 2"/>
              <a:gd name="T8" fmla="*/ 0 w 1587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3" name="Freeform 1287">
            <a:extLst>
              <a:ext uri="{FF2B5EF4-FFF2-40B4-BE49-F238E27FC236}">
                <a16:creationId xmlns:a16="http://schemas.microsoft.com/office/drawing/2014/main" id="{E5607C9B-7F93-4422-9716-1A51F1012544}"/>
              </a:ext>
            </a:extLst>
          </p:cNvPr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2147483647 h 2"/>
              <a:gd name="T4" fmla="*/ 2147483647 w 2"/>
              <a:gd name="T5" fmla="*/ 2147483647 h 2"/>
              <a:gd name="T6" fmla="*/ 2147483647 w 2"/>
              <a:gd name="T7" fmla="*/ 2147483647 h 2"/>
              <a:gd name="T8" fmla="*/ 2147483647 w 2"/>
              <a:gd name="T9" fmla="*/ 2147483647 h 2"/>
              <a:gd name="T10" fmla="*/ 2147483647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2147483647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2147483647 w 2"/>
              <a:gd name="T25" fmla="*/ 2147483647 h 2"/>
              <a:gd name="T26" fmla="*/ 2147483647 w 2"/>
              <a:gd name="T27" fmla="*/ 2147483647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4" name="Freeform 1290">
            <a:extLst>
              <a:ext uri="{FF2B5EF4-FFF2-40B4-BE49-F238E27FC236}">
                <a16:creationId xmlns:a16="http://schemas.microsoft.com/office/drawing/2014/main" id="{7562A6B4-3318-416A-A485-4945D53F3F42}"/>
              </a:ext>
            </a:extLst>
          </p:cNvPr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2147483647 h 2"/>
              <a:gd name="T6" fmla="*/ 2147483647 w 2"/>
              <a:gd name="T7" fmla="*/ 2147483647 h 2"/>
              <a:gd name="T8" fmla="*/ 2147483647 w 2"/>
              <a:gd name="T9" fmla="*/ 2147483647 h 2"/>
              <a:gd name="T10" fmla="*/ 2147483647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2147483647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2147483647 h 2"/>
              <a:gd name="T50" fmla="*/ 2147483647 w 2"/>
              <a:gd name="T51" fmla="*/ 2147483647 h 2"/>
              <a:gd name="T52" fmla="*/ 2147483647 w 2"/>
              <a:gd name="T53" fmla="*/ 0 h 2"/>
              <a:gd name="T54" fmla="*/ 2147483647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2147483647 h 2"/>
              <a:gd name="T62" fmla="*/ 0 w 2"/>
              <a:gd name="T63" fmla="*/ 2147483647 h 2"/>
              <a:gd name="T64" fmla="*/ 2147483647 w 2"/>
              <a:gd name="T65" fmla="*/ 2147483647 h 2"/>
              <a:gd name="T66" fmla="*/ 2147483647 w 2"/>
              <a:gd name="T67" fmla="*/ 2147483647 h 2"/>
              <a:gd name="T68" fmla="*/ 0 w 2"/>
              <a:gd name="T69" fmla="*/ 2147483647 h 2"/>
              <a:gd name="T70" fmla="*/ 0 w 2"/>
              <a:gd name="T71" fmla="*/ 2147483647 h 2"/>
              <a:gd name="T72" fmla="*/ 0 w 2"/>
              <a:gd name="T73" fmla="*/ 2147483647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5" name="Rectangle 1335">
            <a:extLst>
              <a:ext uri="{FF2B5EF4-FFF2-40B4-BE49-F238E27FC236}">
                <a16:creationId xmlns:a16="http://schemas.microsoft.com/office/drawing/2014/main" id="{E6056AB4-CF5B-451D-BEB4-EB1A786D2D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6" name="Rectangle 1336">
            <a:extLst>
              <a:ext uri="{FF2B5EF4-FFF2-40B4-BE49-F238E27FC236}">
                <a16:creationId xmlns:a16="http://schemas.microsoft.com/office/drawing/2014/main" id="{AA5C84C2-405A-4C71-8DAC-EDE22661FB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7" name="Rectangle 1337">
            <a:extLst>
              <a:ext uri="{FF2B5EF4-FFF2-40B4-BE49-F238E27FC236}">
                <a16:creationId xmlns:a16="http://schemas.microsoft.com/office/drawing/2014/main" id="{F3E889C8-0A4E-4ED0-98B5-F27F6C025B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8" name="Rectangle 1340">
            <a:extLst>
              <a:ext uri="{FF2B5EF4-FFF2-40B4-BE49-F238E27FC236}">
                <a16:creationId xmlns:a16="http://schemas.microsoft.com/office/drawing/2014/main" id="{256C39E5-9F26-4C02-B9CC-E798BD1C82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9" name="Rectangle 1341">
            <a:extLst>
              <a:ext uri="{FF2B5EF4-FFF2-40B4-BE49-F238E27FC236}">
                <a16:creationId xmlns:a16="http://schemas.microsoft.com/office/drawing/2014/main" id="{A15D68F8-CC3A-497E-B1EB-7E33031858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60" name="Rectangle 1342">
            <a:extLst>
              <a:ext uri="{FF2B5EF4-FFF2-40B4-BE49-F238E27FC236}">
                <a16:creationId xmlns:a16="http://schemas.microsoft.com/office/drawing/2014/main" id="{8B2A8A74-E713-407D-B56E-14C7579D04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61" name="Rectangle 1343">
            <a:extLst>
              <a:ext uri="{FF2B5EF4-FFF2-40B4-BE49-F238E27FC236}">
                <a16:creationId xmlns:a16="http://schemas.microsoft.com/office/drawing/2014/main" id="{25977F99-B333-4259-BD6F-A11DA7EAC9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62" name="Rectangle 1344">
            <a:extLst>
              <a:ext uri="{FF2B5EF4-FFF2-40B4-BE49-F238E27FC236}">
                <a16:creationId xmlns:a16="http://schemas.microsoft.com/office/drawing/2014/main" id="{56892C96-FF29-4786-B1FC-46125B276C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324" name="Title 323"/>
          <p:cNvSpPr>
            <a:spLocks noGrp="1"/>
          </p:cNvSpPr>
          <p:nvPr>
            <p:ph type="title"/>
          </p:nvPr>
        </p:nvSpPr>
        <p:spPr>
          <a:xfrm>
            <a:off x="343401" y="301625"/>
            <a:ext cx="8439652" cy="1031875"/>
          </a:xfrm>
        </p:spPr>
        <p:txBody>
          <a:bodyPr/>
          <a:lstStyle>
            <a:lvl1pPr>
              <a:defRPr b="0" i="0" cap="none" baseline="0">
                <a:solidFill>
                  <a:schemeClr val="tx1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31" name="Content Placeholder 330"/>
          <p:cNvSpPr>
            <a:spLocks noGrp="1"/>
          </p:cNvSpPr>
          <p:nvPr>
            <p:ph sz="quarter" idx="10"/>
          </p:nvPr>
        </p:nvSpPr>
        <p:spPr>
          <a:xfrm>
            <a:off x="343401" y="1460500"/>
            <a:ext cx="8440305" cy="4600863"/>
          </a:xfrm>
        </p:spPr>
        <p:txBody>
          <a:bodyPr>
            <a:normAutofit/>
          </a:bodyPr>
          <a:lstStyle>
            <a:lvl1pPr>
              <a:lnSpc>
                <a:spcPct val="130000"/>
              </a:lnSpc>
              <a:spcBef>
                <a:spcPts val="1200"/>
              </a:spcBef>
              <a:defRPr>
                <a:solidFill>
                  <a:srgbClr val="7F7F7F"/>
                </a:solidFill>
              </a:defRPr>
            </a:lvl1pPr>
            <a:lvl2pPr>
              <a:lnSpc>
                <a:spcPct val="130000"/>
              </a:lnSpc>
              <a:spcBef>
                <a:spcPts val="120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2pPr>
            <a:lvl3pPr marL="557784"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3pPr>
            <a:lvl4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4pPr>
            <a:lvl5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3" name="Footer Placeholder 8">
            <a:extLst>
              <a:ext uri="{FF2B5EF4-FFF2-40B4-BE49-F238E27FC236}">
                <a16:creationId xmlns:a16="http://schemas.microsoft.com/office/drawing/2014/main" id="{D4808B09-2682-4A3C-8866-C8B474120D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  <p:sp>
        <p:nvSpPr>
          <p:cNvPr id="64" name="Slide Number Placeholder 9">
            <a:extLst>
              <a:ext uri="{FF2B5EF4-FFF2-40B4-BE49-F238E27FC236}">
                <a16:creationId xmlns:a16="http://schemas.microsoft.com/office/drawing/2014/main" id="{B8B72FB5-C2CE-4943-ACD5-4461677544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1FC0524-9AED-456C-BADC-F0F6F26BD804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190349779"/>
      </p:ext>
    </p:extLst>
  </p:cSld>
  <p:clrMapOvr>
    <a:masterClrMapping/>
  </p:clrMapOvr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with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1682">
            <a:extLst>
              <a:ext uri="{FF2B5EF4-FFF2-40B4-BE49-F238E27FC236}">
                <a16:creationId xmlns:a16="http://schemas.microsoft.com/office/drawing/2014/main" id="{DEB0FBCB-A869-4CAE-8825-C4AF702FA324}"/>
              </a:ext>
            </a:extLst>
          </p:cNvPr>
          <p:cNvSpPr>
            <a:spLocks/>
          </p:cNvSpPr>
          <p:nvPr/>
        </p:nvSpPr>
        <p:spPr bwMode="auto">
          <a:xfrm flipH="1">
            <a:off x="6380163" y="615950"/>
            <a:ext cx="1014412" cy="1895475"/>
          </a:xfrm>
          <a:custGeom>
            <a:avLst/>
            <a:gdLst>
              <a:gd name="T0" fmla="*/ 0 w 638"/>
              <a:gd name="T1" fmla="*/ 0 h 1194"/>
              <a:gd name="T2" fmla="*/ 2147483647 w 638"/>
              <a:gd name="T3" fmla="*/ 2147483647 h 1194"/>
              <a:gd name="T4" fmla="*/ 2147483647 w 638"/>
              <a:gd name="T5" fmla="*/ 2147483647 h 1194"/>
              <a:gd name="T6" fmla="*/ 2147483647 w 638"/>
              <a:gd name="T7" fmla="*/ 2147483647 h 1194"/>
              <a:gd name="T8" fmla="*/ 2147483647 w 638"/>
              <a:gd name="T9" fmla="*/ 2147483647 h 1194"/>
              <a:gd name="T10" fmla="*/ 2147483647 w 638"/>
              <a:gd name="T11" fmla="*/ 2147483647 h 1194"/>
              <a:gd name="T12" fmla="*/ 2147483647 w 638"/>
              <a:gd name="T13" fmla="*/ 2147483647 h 1194"/>
              <a:gd name="T14" fmla="*/ 2147483647 w 638"/>
              <a:gd name="T15" fmla="*/ 2147483647 h 1194"/>
              <a:gd name="T16" fmla="*/ 2147483647 w 638"/>
              <a:gd name="T17" fmla="*/ 2147483647 h 1194"/>
              <a:gd name="T18" fmla="*/ 2147483647 w 638"/>
              <a:gd name="T19" fmla="*/ 2147483647 h 1194"/>
              <a:gd name="T20" fmla="*/ 2147483647 w 638"/>
              <a:gd name="T21" fmla="*/ 2147483647 h 1194"/>
              <a:gd name="T22" fmla="*/ 2147483647 w 638"/>
              <a:gd name="T23" fmla="*/ 2147483647 h 1194"/>
              <a:gd name="T24" fmla="*/ 2147483647 w 638"/>
              <a:gd name="T25" fmla="*/ 2147483647 h 1194"/>
              <a:gd name="T26" fmla="*/ 2147483647 w 638"/>
              <a:gd name="T27" fmla="*/ 2147483647 h 1194"/>
              <a:gd name="T28" fmla="*/ 2147483647 w 638"/>
              <a:gd name="T29" fmla="*/ 2147483647 h 1194"/>
              <a:gd name="T30" fmla="*/ 2147483647 w 638"/>
              <a:gd name="T31" fmla="*/ 2147483647 h 1194"/>
              <a:gd name="T32" fmla="*/ 2147483647 w 638"/>
              <a:gd name="T33" fmla="*/ 2147483647 h 1194"/>
              <a:gd name="T34" fmla="*/ 2147483647 w 638"/>
              <a:gd name="T35" fmla="*/ 2147483647 h 1194"/>
              <a:gd name="T36" fmla="*/ 2147483647 w 638"/>
              <a:gd name="T37" fmla="*/ 2147483647 h 1194"/>
              <a:gd name="T38" fmla="*/ 2147483647 w 638"/>
              <a:gd name="T39" fmla="*/ 2147483647 h 1194"/>
              <a:gd name="T40" fmla="*/ 2147483647 w 638"/>
              <a:gd name="T41" fmla="*/ 2147483647 h 1194"/>
              <a:gd name="T42" fmla="*/ 2147483647 w 638"/>
              <a:gd name="T43" fmla="*/ 2147483647 h 1194"/>
              <a:gd name="T44" fmla="*/ 2147483647 w 638"/>
              <a:gd name="T45" fmla="*/ 2147483647 h 1194"/>
              <a:gd name="T46" fmla="*/ 2147483647 w 638"/>
              <a:gd name="T47" fmla="*/ 2147483647 h 1194"/>
              <a:gd name="T48" fmla="*/ 2147483647 w 638"/>
              <a:gd name="T49" fmla="*/ 2147483647 h 1194"/>
              <a:gd name="T50" fmla="*/ 2147483647 w 638"/>
              <a:gd name="T51" fmla="*/ 2147483647 h 1194"/>
              <a:gd name="T52" fmla="*/ 2147483647 w 638"/>
              <a:gd name="T53" fmla="*/ 2147483647 h 1194"/>
              <a:gd name="T54" fmla="*/ 2147483647 w 638"/>
              <a:gd name="T55" fmla="*/ 2147483647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" name="Freeform 1683">
            <a:extLst>
              <a:ext uri="{FF2B5EF4-FFF2-40B4-BE49-F238E27FC236}">
                <a16:creationId xmlns:a16="http://schemas.microsoft.com/office/drawing/2014/main" id="{39F75347-F413-4844-8D83-E80CC33E9E0A}"/>
              </a:ext>
            </a:extLst>
          </p:cNvPr>
          <p:cNvSpPr>
            <a:spLocks/>
          </p:cNvSpPr>
          <p:nvPr/>
        </p:nvSpPr>
        <p:spPr bwMode="auto">
          <a:xfrm flipH="1">
            <a:off x="7410450" y="3175"/>
            <a:ext cx="712788" cy="584200"/>
          </a:xfrm>
          <a:custGeom>
            <a:avLst/>
            <a:gdLst>
              <a:gd name="T0" fmla="*/ 2147483647 w 448"/>
              <a:gd name="T1" fmla="*/ 2147483647 h 372"/>
              <a:gd name="T2" fmla="*/ 2147483647 w 448"/>
              <a:gd name="T3" fmla="*/ 2147483647 h 372"/>
              <a:gd name="T4" fmla="*/ 2147483647 w 448"/>
              <a:gd name="T5" fmla="*/ 2147483647 h 372"/>
              <a:gd name="T6" fmla="*/ 2147483647 w 448"/>
              <a:gd name="T7" fmla="*/ 2147483647 h 372"/>
              <a:gd name="T8" fmla="*/ 2147483647 w 448"/>
              <a:gd name="T9" fmla="*/ 2147483647 h 372"/>
              <a:gd name="T10" fmla="*/ 2147483647 w 448"/>
              <a:gd name="T11" fmla="*/ 2147483647 h 372"/>
              <a:gd name="T12" fmla="*/ 0 w 448"/>
              <a:gd name="T13" fmla="*/ 0 h 372"/>
              <a:gd name="T14" fmla="*/ 2147483647 w 448"/>
              <a:gd name="T15" fmla="*/ 0 h 372"/>
              <a:gd name="T16" fmla="*/ 2147483647 w 448"/>
              <a:gd name="T17" fmla="*/ 2147483647 h 372"/>
              <a:gd name="T18" fmla="*/ 2147483647 w 448"/>
              <a:gd name="T19" fmla="*/ 2147483647 h 372"/>
              <a:gd name="T20" fmla="*/ 2147483647 w 448"/>
              <a:gd name="T21" fmla="*/ 2147483647 h 372"/>
              <a:gd name="T22" fmla="*/ 2147483647 w 448"/>
              <a:gd name="T23" fmla="*/ 2147483647 h 372"/>
              <a:gd name="T24" fmla="*/ 2147483647 w 448"/>
              <a:gd name="T25" fmla="*/ 2147483647 h 372"/>
              <a:gd name="T26" fmla="*/ 2147483647 w 448"/>
              <a:gd name="T27" fmla="*/ 2147483647 h 372"/>
              <a:gd name="T28" fmla="*/ 2147483647 w 448"/>
              <a:gd name="T29" fmla="*/ 2147483647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324" name="Title 323"/>
          <p:cNvSpPr>
            <a:spLocks noGrp="1"/>
          </p:cNvSpPr>
          <p:nvPr>
            <p:ph type="title"/>
          </p:nvPr>
        </p:nvSpPr>
        <p:spPr>
          <a:xfrm>
            <a:off x="356934" y="301625"/>
            <a:ext cx="8439487" cy="667338"/>
          </a:xfrm>
        </p:spPr>
        <p:txBody>
          <a:bodyPr/>
          <a:lstStyle>
            <a:lvl1pPr>
              <a:defRPr b="0" i="0" cap="none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31" name="Content Placeholder 330"/>
          <p:cNvSpPr>
            <a:spLocks noGrp="1"/>
          </p:cNvSpPr>
          <p:nvPr>
            <p:ph sz="quarter" idx="10"/>
          </p:nvPr>
        </p:nvSpPr>
        <p:spPr>
          <a:xfrm>
            <a:off x="356934" y="1599260"/>
            <a:ext cx="8440305" cy="4462104"/>
          </a:xfrm>
        </p:spPr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356934" y="1025408"/>
            <a:ext cx="8435473" cy="517408"/>
          </a:xfrm>
        </p:spPr>
        <p:txBody>
          <a:bodyPr>
            <a:norm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600" b="0" cap="none" baseline="0">
                <a:solidFill>
                  <a:schemeClr val="tx1"/>
                </a:solidFill>
              </a:defRPr>
            </a:lvl1pPr>
            <a:lvl2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857364B4-1228-475B-ACF0-A988B9B6853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BF62ABDC-F0B0-429B-A774-22282DC846D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fld id="{B5C243D6-0699-47E7-9B2B-BBFD7E0F76AB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948999294"/>
      </p:ext>
    </p:extLst>
  </p:cSld>
  <p:clrMapOvr>
    <a:masterClrMapping/>
  </p:clrMapOvr>
  <p:hf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56934" y="306742"/>
            <a:ext cx="3010890" cy="5616076"/>
          </a:xfrm>
        </p:spPr>
        <p:txBody>
          <a:bodyPr anchor="ctr"/>
          <a:lstStyle>
            <a:lvl1pPr algn="l">
              <a:defRPr sz="2400" b="0" i="0" cap="all" baseline="0">
                <a:solidFill>
                  <a:schemeClr val="tx1"/>
                </a:solidFill>
                <a:latin typeface="+mn-lt"/>
                <a:cs typeface="Andes ExtraLight"/>
              </a:defRPr>
            </a:lvl1pPr>
            <a:lvl2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2pPr>
            <a:lvl3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3pPr>
            <a:lvl4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4pPr>
            <a:lvl5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3000" y="295615"/>
            <a:ext cx="5207000" cy="5592567"/>
          </a:xfrm>
        </p:spPr>
        <p:txBody>
          <a:bodyPr anchor="ctr"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6A593386-E8BB-45F2-9C9F-702FB23A32E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4C5CA96-C2A4-40D2-BF18-F23C1B71310D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984DFDCA-9867-4B8A-9CB2-D78573D888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1846503039"/>
      </p:ext>
    </p:extLst>
  </p:cSld>
  <p:clrMapOvr>
    <a:masterClrMapping/>
  </p:clrMapOvr>
  <p:hf hdr="0" dt="0"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slideLayout" Target="../slideLayouts/slideLayout18.xml"/><Relationship Id="rId18" Type="http://schemas.openxmlformats.org/officeDocument/2006/relationships/slideLayout" Target="../slideLayouts/slideLayout23.xml"/><Relationship Id="rId3" Type="http://schemas.openxmlformats.org/officeDocument/2006/relationships/slideLayout" Target="../slideLayouts/slideLayout8.xml"/><Relationship Id="rId21" Type="http://schemas.openxmlformats.org/officeDocument/2006/relationships/slideLayout" Target="../slideLayouts/slideLayout26.xml"/><Relationship Id="rId7" Type="http://schemas.openxmlformats.org/officeDocument/2006/relationships/slideLayout" Target="../slideLayouts/slideLayout12.xml"/><Relationship Id="rId12" Type="http://schemas.openxmlformats.org/officeDocument/2006/relationships/slideLayout" Target="../slideLayouts/slideLayout17.xml"/><Relationship Id="rId17" Type="http://schemas.openxmlformats.org/officeDocument/2006/relationships/slideLayout" Target="../slideLayouts/slideLayout22.xml"/><Relationship Id="rId2" Type="http://schemas.openxmlformats.org/officeDocument/2006/relationships/slideLayout" Target="../slideLayouts/slideLayout7.xml"/><Relationship Id="rId16" Type="http://schemas.openxmlformats.org/officeDocument/2006/relationships/slideLayout" Target="../slideLayouts/slideLayout21.xml"/><Relationship Id="rId20" Type="http://schemas.openxmlformats.org/officeDocument/2006/relationships/slideLayout" Target="../slideLayouts/slideLayout25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0.xml"/><Relationship Id="rId15" Type="http://schemas.openxmlformats.org/officeDocument/2006/relationships/slideLayout" Target="../slideLayouts/slideLayout20.xml"/><Relationship Id="rId23" Type="http://schemas.openxmlformats.org/officeDocument/2006/relationships/theme" Target="../theme/theme2.xml"/><Relationship Id="rId10" Type="http://schemas.openxmlformats.org/officeDocument/2006/relationships/slideLayout" Target="../slideLayouts/slideLayout15.xml"/><Relationship Id="rId19" Type="http://schemas.openxmlformats.org/officeDocument/2006/relationships/slideLayout" Target="../slideLayouts/slideLayout24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slideLayout" Target="../slideLayouts/slideLayout19.xml"/><Relationship Id="rId22" Type="http://schemas.openxmlformats.org/officeDocument/2006/relationships/slideLayout" Target="../slideLayouts/slideLayout2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40.xml"/><Relationship Id="rId18" Type="http://schemas.openxmlformats.org/officeDocument/2006/relationships/slideLayout" Target="../slideLayouts/slideLayout45.xml"/><Relationship Id="rId3" Type="http://schemas.openxmlformats.org/officeDocument/2006/relationships/slideLayout" Target="../slideLayouts/slideLayout30.xml"/><Relationship Id="rId21" Type="http://schemas.openxmlformats.org/officeDocument/2006/relationships/slideLayout" Target="../slideLayouts/slideLayout48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17" Type="http://schemas.openxmlformats.org/officeDocument/2006/relationships/slideLayout" Target="../slideLayouts/slideLayout44.xml"/><Relationship Id="rId2" Type="http://schemas.openxmlformats.org/officeDocument/2006/relationships/slideLayout" Target="../slideLayouts/slideLayout29.xml"/><Relationship Id="rId16" Type="http://schemas.openxmlformats.org/officeDocument/2006/relationships/slideLayout" Target="../slideLayouts/slideLayout43.xml"/><Relationship Id="rId20" Type="http://schemas.openxmlformats.org/officeDocument/2006/relationships/slideLayout" Target="../slideLayouts/slideLayout47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5" Type="http://schemas.openxmlformats.org/officeDocument/2006/relationships/slideLayout" Target="../slideLayouts/slideLayout42.xml"/><Relationship Id="rId23" Type="http://schemas.openxmlformats.org/officeDocument/2006/relationships/theme" Target="../theme/theme3.xml"/><Relationship Id="rId10" Type="http://schemas.openxmlformats.org/officeDocument/2006/relationships/slideLayout" Target="../slideLayouts/slideLayout37.xml"/><Relationship Id="rId19" Type="http://schemas.openxmlformats.org/officeDocument/2006/relationships/slideLayout" Target="../slideLayouts/slideLayout46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Relationship Id="rId22" Type="http://schemas.openxmlformats.org/officeDocument/2006/relationships/slideLayout" Target="../slideLayouts/slideLayout49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2.xml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5" Type="http://schemas.openxmlformats.org/officeDocument/2006/relationships/theme" Target="../theme/theme4.xml"/><Relationship Id="rId4" Type="http://schemas.openxmlformats.org/officeDocument/2006/relationships/slideLayout" Target="../slideLayouts/slideLayout5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2" name="Rectangle 2">
            <a:extLst>
              <a:ext uri="{FF2B5EF4-FFF2-40B4-BE49-F238E27FC236}">
                <a16:creationId xmlns:a16="http://schemas.microsoft.com/office/drawing/2014/main" id="{B860B886-E91D-410D-BF9F-1AE7433ADE34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871538"/>
            <a:ext cx="7772400" cy="563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Rectangle 3">
            <a:extLst>
              <a:ext uri="{FF2B5EF4-FFF2-40B4-BE49-F238E27FC236}">
                <a16:creationId xmlns:a16="http://schemas.microsoft.com/office/drawing/2014/main" id="{D97DBB43-0A59-47D5-A1F5-7059D3682D01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81200"/>
            <a:ext cx="77724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6ADA595-92A9-4B98-AA7B-ECE1B6F956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7975" y="6356350"/>
            <a:ext cx="5600700" cy="328613"/>
          </a:xfrm>
          <a:prstGeom prst="rect">
            <a:avLst/>
          </a:prstGeom>
        </p:spPr>
        <p:txBody>
          <a:bodyPr vert="horz" lIns="0" tIns="0" rIns="91440" bIns="0" rtlCol="0" anchor="b">
            <a:normAutofit/>
          </a:bodyPr>
          <a:lstStyle>
            <a:lvl1pPr algn="r">
              <a:defRPr sz="1400" b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D03B09E-A190-40DB-B7C3-7DF9280DEAF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4213" y="6329363"/>
            <a:ext cx="2133600" cy="365125"/>
          </a:xfrm>
          <a:prstGeom prst="rect">
            <a:avLst/>
          </a:prstGeom>
        </p:spPr>
        <p:txBody>
          <a:bodyPr vert="horz" lIns="0" tIns="0" rIns="91440" bIns="0" rtlCol="0" anchor="b">
            <a:normAutofit/>
          </a:bodyPr>
          <a:lstStyle>
            <a:lvl1pPr algn="l">
              <a:defRPr sz="1400" b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432" r:id="rId1"/>
    <p:sldLayoutId id="2147485433" r:id="rId2"/>
    <p:sldLayoutId id="2147485434" r:id="rId3"/>
    <p:sldLayoutId id="2147485456" r:id="rId4"/>
    <p:sldLayoutId id="2147485530" r:id="rId5"/>
  </p:sldLayoutIdLst>
  <p:hf hdr="0" dt="0"/>
  <p:txStyles>
    <p:titleStyle>
      <a:lvl1pPr algn="l" rtl="0" fontAlgn="base">
        <a:spcBef>
          <a:spcPct val="0"/>
        </a:spcBef>
        <a:spcAft>
          <a:spcPct val="0"/>
        </a:spcAft>
        <a:defRPr sz="2600" cap="all">
          <a:solidFill>
            <a:schemeClr val="tx1"/>
          </a:solidFill>
          <a:latin typeface="+mj-lt"/>
          <a:ea typeface="MS PGothic" pitchFamily="34" charset="-128"/>
          <a:cs typeface="ＭＳ Ｐゴシック" charset="0"/>
        </a:defRPr>
      </a:lvl1pPr>
      <a:lvl2pPr algn="l" rtl="0" fontAlgn="base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MS PGothic" pitchFamily="34" charset="-128"/>
          <a:cs typeface="ＭＳ Ｐゴシック" charset="0"/>
        </a:defRPr>
      </a:lvl2pPr>
      <a:lvl3pPr algn="l" rtl="0" fontAlgn="base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MS PGothic" pitchFamily="34" charset="-128"/>
          <a:cs typeface="ＭＳ Ｐゴシック" charset="0"/>
        </a:defRPr>
      </a:lvl3pPr>
      <a:lvl4pPr algn="l" rtl="0" fontAlgn="base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MS PGothic" pitchFamily="34" charset="-128"/>
          <a:cs typeface="ＭＳ Ｐゴシック" charset="0"/>
        </a:defRPr>
      </a:lvl4pPr>
      <a:lvl5pPr algn="l" rtl="0" fontAlgn="base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MS PGothic" pitchFamily="34" charset="-128"/>
          <a:cs typeface="ＭＳ Ｐゴシック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9pPr>
    </p:titleStyle>
    <p:bodyStyle>
      <a:lvl1pPr marL="342900" indent="-342900" algn="l" rtl="0" fontAlgn="base">
        <a:lnSpc>
          <a:spcPct val="115000"/>
        </a:lnSpc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  <a:cs typeface="ＭＳ Ｐゴシック" charset="0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lr>
          <a:srgbClr val="00783C"/>
        </a:buClr>
        <a:buFont typeface="Wingdings" panose="05000000000000000000" pitchFamily="2" charset="2"/>
        <a:defRPr>
          <a:solidFill>
            <a:schemeClr val="tx1"/>
          </a:solidFill>
          <a:latin typeface="+mn-lt"/>
          <a:ea typeface="MS PGothic" pitchFamily="34" charset="-128"/>
        </a:defRPr>
      </a:lvl2pPr>
      <a:lvl3pPr marL="4763" indent="909638" algn="l" rtl="0" fontAlgn="base"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Freeform 84">
            <a:extLst>
              <a:ext uri="{FF2B5EF4-FFF2-40B4-BE49-F238E27FC236}">
                <a16:creationId xmlns:a16="http://schemas.microsoft.com/office/drawing/2014/main" id="{A0395516-B671-4F92-A043-4E79CC001E60}"/>
              </a:ext>
            </a:extLst>
          </p:cNvPr>
          <p:cNvSpPr>
            <a:spLocks/>
          </p:cNvSpPr>
          <p:nvPr/>
        </p:nvSpPr>
        <p:spPr bwMode="auto">
          <a:xfrm flipH="1">
            <a:off x="8189913" y="6323013"/>
            <a:ext cx="349250" cy="534987"/>
          </a:xfrm>
          <a:custGeom>
            <a:avLst/>
            <a:gdLst>
              <a:gd name="T0" fmla="*/ 0 w 638"/>
              <a:gd name="T1" fmla="*/ 0 h 1194"/>
              <a:gd name="T2" fmla="*/ 2147483647 w 638"/>
              <a:gd name="T3" fmla="*/ 2147483647 h 1194"/>
              <a:gd name="T4" fmla="*/ 2147483647 w 638"/>
              <a:gd name="T5" fmla="*/ 2147483647 h 1194"/>
              <a:gd name="T6" fmla="*/ 2147483647 w 638"/>
              <a:gd name="T7" fmla="*/ 2147483647 h 1194"/>
              <a:gd name="T8" fmla="*/ 2147483647 w 638"/>
              <a:gd name="T9" fmla="*/ 2147483647 h 1194"/>
              <a:gd name="T10" fmla="*/ 2147483647 w 638"/>
              <a:gd name="T11" fmla="*/ 2147483647 h 1194"/>
              <a:gd name="T12" fmla="*/ 2147483647 w 638"/>
              <a:gd name="T13" fmla="*/ 2147483647 h 1194"/>
              <a:gd name="T14" fmla="*/ 2147483647 w 638"/>
              <a:gd name="T15" fmla="*/ 2147483647 h 1194"/>
              <a:gd name="T16" fmla="*/ 2147483647 w 638"/>
              <a:gd name="T17" fmla="*/ 2147483647 h 1194"/>
              <a:gd name="T18" fmla="*/ 2147483647 w 638"/>
              <a:gd name="T19" fmla="*/ 2147483647 h 1194"/>
              <a:gd name="T20" fmla="*/ 2147483647 w 638"/>
              <a:gd name="T21" fmla="*/ 2147483647 h 1194"/>
              <a:gd name="T22" fmla="*/ 2147483647 w 638"/>
              <a:gd name="T23" fmla="*/ 2147483647 h 1194"/>
              <a:gd name="T24" fmla="*/ 2147483647 w 638"/>
              <a:gd name="T25" fmla="*/ 2147483647 h 1194"/>
              <a:gd name="T26" fmla="*/ 2147483647 w 638"/>
              <a:gd name="T27" fmla="*/ 2147483647 h 1194"/>
              <a:gd name="T28" fmla="*/ 2147483647 w 638"/>
              <a:gd name="T29" fmla="*/ 2147483647 h 1194"/>
              <a:gd name="T30" fmla="*/ 2147483647 w 638"/>
              <a:gd name="T31" fmla="*/ 2147483647 h 1194"/>
              <a:gd name="T32" fmla="*/ 2147483647 w 638"/>
              <a:gd name="T33" fmla="*/ 2147483647 h 1194"/>
              <a:gd name="T34" fmla="*/ 2147483647 w 638"/>
              <a:gd name="T35" fmla="*/ 2147483647 h 1194"/>
              <a:gd name="T36" fmla="*/ 2147483647 w 638"/>
              <a:gd name="T37" fmla="*/ 2147483647 h 1194"/>
              <a:gd name="T38" fmla="*/ 2147483647 w 638"/>
              <a:gd name="T39" fmla="*/ 2147483647 h 1194"/>
              <a:gd name="T40" fmla="*/ 2147483647 w 638"/>
              <a:gd name="T41" fmla="*/ 2147483647 h 1194"/>
              <a:gd name="T42" fmla="*/ 2147483647 w 638"/>
              <a:gd name="T43" fmla="*/ 2147483647 h 1194"/>
              <a:gd name="T44" fmla="*/ 2147483647 w 638"/>
              <a:gd name="T45" fmla="*/ 2147483647 h 1194"/>
              <a:gd name="T46" fmla="*/ 2147483647 w 638"/>
              <a:gd name="T47" fmla="*/ 2147483647 h 1194"/>
              <a:gd name="T48" fmla="*/ 2147483647 w 638"/>
              <a:gd name="T49" fmla="*/ 2147483647 h 1194"/>
              <a:gd name="T50" fmla="*/ 2147483647 w 638"/>
              <a:gd name="T51" fmla="*/ 2147483647 h 1194"/>
              <a:gd name="T52" fmla="*/ 2147483647 w 638"/>
              <a:gd name="T53" fmla="*/ 2147483647 h 1194"/>
              <a:gd name="T54" fmla="*/ 2147483647 w 638"/>
              <a:gd name="T55" fmla="*/ 1799012972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/>
          <a:lstStyle/>
          <a:p>
            <a:endParaRPr lang="en-US"/>
          </a:p>
        </p:txBody>
      </p:sp>
      <p:sp>
        <p:nvSpPr>
          <p:cNvPr id="2051" name="Freeform 85">
            <a:extLst>
              <a:ext uri="{FF2B5EF4-FFF2-40B4-BE49-F238E27FC236}">
                <a16:creationId xmlns:a16="http://schemas.microsoft.com/office/drawing/2014/main" id="{9A876958-6681-44E3-8FFF-73B1A3EB73A4}"/>
              </a:ext>
            </a:extLst>
          </p:cNvPr>
          <p:cNvSpPr>
            <a:spLocks/>
          </p:cNvSpPr>
          <p:nvPr/>
        </p:nvSpPr>
        <p:spPr bwMode="auto">
          <a:xfrm flipH="1">
            <a:off x="8545513" y="6146800"/>
            <a:ext cx="246062" cy="165100"/>
          </a:xfrm>
          <a:custGeom>
            <a:avLst/>
            <a:gdLst>
              <a:gd name="T0" fmla="*/ 2147483647 w 448"/>
              <a:gd name="T1" fmla="*/ 2147483647 h 372"/>
              <a:gd name="T2" fmla="*/ 2147483647 w 448"/>
              <a:gd name="T3" fmla="*/ 2147483647 h 372"/>
              <a:gd name="T4" fmla="*/ 2147483647 w 448"/>
              <a:gd name="T5" fmla="*/ 2147483647 h 372"/>
              <a:gd name="T6" fmla="*/ 2147483647 w 448"/>
              <a:gd name="T7" fmla="*/ 2147483647 h 372"/>
              <a:gd name="T8" fmla="*/ 2147483647 w 448"/>
              <a:gd name="T9" fmla="*/ 2147483647 h 372"/>
              <a:gd name="T10" fmla="*/ 2147483647 w 448"/>
              <a:gd name="T11" fmla="*/ 2147483647 h 372"/>
              <a:gd name="T12" fmla="*/ 0 w 448"/>
              <a:gd name="T13" fmla="*/ 0 h 372"/>
              <a:gd name="T14" fmla="*/ 2147483647 w 448"/>
              <a:gd name="T15" fmla="*/ 0 h 372"/>
              <a:gd name="T16" fmla="*/ 2147483647 w 448"/>
              <a:gd name="T17" fmla="*/ 2147483647 h 372"/>
              <a:gd name="T18" fmla="*/ 2147483647 w 448"/>
              <a:gd name="T19" fmla="*/ 2147483647 h 372"/>
              <a:gd name="T20" fmla="*/ 2147483647 w 448"/>
              <a:gd name="T21" fmla="*/ 2147483647 h 372"/>
              <a:gd name="T22" fmla="*/ 2147483647 w 448"/>
              <a:gd name="T23" fmla="*/ 2147483647 h 372"/>
              <a:gd name="T24" fmla="*/ 2147483647 w 448"/>
              <a:gd name="T25" fmla="*/ 2147483647 h 372"/>
              <a:gd name="T26" fmla="*/ 2147483647 w 448"/>
              <a:gd name="T27" fmla="*/ 2147483647 h 372"/>
              <a:gd name="T28" fmla="*/ 2147483647 w 448"/>
              <a:gd name="T29" fmla="*/ 2147483647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/>
          <a:lstStyle/>
          <a:p>
            <a:endParaRPr lang="en-US"/>
          </a:p>
        </p:txBody>
      </p:sp>
      <p:sp>
        <p:nvSpPr>
          <p:cNvPr id="2052" name="Rectangle 2">
            <a:extLst>
              <a:ext uri="{FF2B5EF4-FFF2-40B4-BE49-F238E27FC236}">
                <a16:creationId xmlns:a16="http://schemas.microsoft.com/office/drawing/2014/main" id="{B53E3D77-2D79-4C0F-B263-F7A4D2FE72BB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357188" y="301625"/>
            <a:ext cx="8461375" cy="1208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33" name="Rectangle 3">
            <a:extLst>
              <a:ext uri="{FF2B5EF4-FFF2-40B4-BE49-F238E27FC236}">
                <a16:creationId xmlns:a16="http://schemas.microsoft.com/office/drawing/2014/main" id="{E717C7F2-09B8-48FD-92A8-8F7BDD8839B4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357188" y="1697038"/>
            <a:ext cx="8478837" cy="4389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Paragraph content</a:t>
            </a:r>
          </a:p>
          <a:p>
            <a:pPr lvl="1"/>
            <a:r>
              <a:rPr lang="en-US"/>
              <a:t>Bullets</a:t>
            </a:r>
          </a:p>
          <a:p>
            <a:pPr lvl="5"/>
            <a:r>
              <a:rPr lang="en-US"/>
              <a:t>Bullets</a:t>
            </a:r>
          </a:p>
          <a:p>
            <a:pPr lvl="3"/>
            <a:r>
              <a:rPr lang="en-US"/>
              <a:t>Bullets</a:t>
            </a:r>
          </a:p>
          <a:p>
            <a:pPr lvl="4"/>
            <a:r>
              <a:rPr lang="en-US"/>
              <a:t>Bullets</a:t>
            </a:r>
          </a:p>
        </p:txBody>
      </p:sp>
      <p:sp>
        <p:nvSpPr>
          <p:cNvPr id="2054" name="TextBox 7">
            <a:extLst>
              <a:ext uri="{FF2B5EF4-FFF2-40B4-BE49-F238E27FC236}">
                <a16:creationId xmlns:a16="http://schemas.microsoft.com/office/drawing/2014/main" id="{A5DD15D1-D7E3-4BEF-B088-0F86437D232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683625" y="6207125"/>
            <a:ext cx="18415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9pPr>
          </a:lstStyle>
          <a:p>
            <a:pPr eaLnBrk="1" hangingPunct="1">
              <a:defRPr/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F949415-C68B-4256-8C6D-36EF938F5E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60363" y="6356350"/>
            <a:ext cx="317500" cy="3651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lvl1pPr>
              <a:defRPr sz="1100" b="0">
                <a:solidFill>
                  <a:srgbClr val="59595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1pPr>
          </a:lstStyle>
          <a:p>
            <a:fld id="{C3D4A14B-44FE-4C93-ADE7-2ADD85523BB2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405C56D-F3D2-4AAD-A017-DBDF3BC173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41363" y="6356350"/>
            <a:ext cx="5915025" cy="36512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100" b="0" baseline="0">
                <a:solidFill>
                  <a:schemeClr val="tx2">
                    <a:lumMod val="65000"/>
                    <a:lumOff val="35000"/>
                  </a:schemeClr>
                </a:solidFill>
                <a:latin typeface="+mn-lt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435" r:id="rId1"/>
    <p:sldLayoutId id="2147485436" r:id="rId2"/>
    <p:sldLayoutId id="2147485437" r:id="rId3"/>
    <p:sldLayoutId id="2147485420" r:id="rId4"/>
    <p:sldLayoutId id="2147485421" r:id="rId5"/>
    <p:sldLayoutId id="2147485422" r:id="rId6"/>
    <p:sldLayoutId id="2147485423" r:id="rId7"/>
    <p:sldLayoutId id="2147485424" r:id="rId8"/>
    <p:sldLayoutId id="2147485425" r:id="rId9"/>
    <p:sldLayoutId id="2147485438" r:id="rId10"/>
    <p:sldLayoutId id="2147485426" r:id="rId11"/>
    <p:sldLayoutId id="2147485439" r:id="rId12"/>
    <p:sldLayoutId id="2147485427" r:id="rId13"/>
    <p:sldLayoutId id="2147485428" r:id="rId14"/>
    <p:sldLayoutId id="2147485429" r:id="rId15"/>
    <p:sldLayoutId id="2147485430" r:id="rId16"/>
    <p:sldLayoutId id="2147485440" r:id="rId17"/>
    <p:sldLayoutId id="2147485431" r:id="rId18"/>
    <p:sldLayoutId id="2147485525" r:id="rId19"/>
    <p:sldLayoutId id="2147485526" r:id="rId20"/>
    <p:sldLayoutId id="2147485528" r:id="rId21"/>
    <p:sldLayoutId id="2147485522" r:id="rId22"/>
  </p:sldLayoutIdLst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buFont typeface="Arial" panose="020B0604020202020204" pitchFamily="34" charset="0"/>
        <a:defRPr sz="2200">
          <a:solidFill>
            <a:schemeClr val="tx1"/>
          </a:solidFill>
          <a:latin typeface="+mn-lt"/>
          <a:ea typeface="MS PGothic" pitchFamily="34" charset="-128"/>
          <a:cs typeface="Andes ExtraLight"/>
        </a:defRPr>
      </a:lvl1pPr>
      <a:lvl2pPr algn="l" rtl="0" eaLnBrk="0" fontAlgn="base" hangingPunct="0">
        <a:spcBef>
          <a:spcPct val="0"/>
        </a:spcBef>
        <a:spcAft>
          <a:spcPct val="0"/>
        </a:spcAft>
        <a:buFont typeface="Arial" panose="020B0604020202020204" pitchFamily="34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buFont typeface="Arial" panose="020B0604020202020204" pitchFamily="34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buFont typeface="Arial" panose="020B0604020202020204" pitchFamily="34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buFont typeface="Arial" panose="020B0604020202020204" pitchFamily="34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9pPr>
    </p:titleStyle>
    <p:bodyStyle>
      <a:lvl1pPr marL="342900" indent="-342900" algn="l" rtl="0" eaLnBrk="0" fontAlgn="base" hangingPunct="0">
        <a:lnSpc>
          <a:spcPct val="150000"/>
        </a:lnSpc>
        <a:spcBef>
          <a:spcPts val="1800"/>
        </a:spcBef>
        <a:spcAft>
          <a:spcPct val="0"/>
        </a:spcAft>
        <a:buClr>
          <a:srgbClr val="404040"/>
        </a:buClr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1pPr>
      <a:lvl2pPr marL="2857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panose="020B0604020202020204" pitchFamily="34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2pPr>
      <a:lvl3pPr marL="2857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>
          <a:solidFill>
            <a:schemeClr val="tx2"/>
          </a:solidFill>
          <a:latin typeface="Arial"/>
          <a:ea typeface="MS PGothic" pitchFamily="34" charset="-128"/>
          <a:cs typeface="Arial"/>
        </a:defRPr>
      </a:lvl3pPr>
      <a:lvl4pPr marL="8318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panose="020B0604020202020204" pitchFamily="34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4pPr>
      <a:lvl5pPr marL="1196975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panose="020B0604020202020204" pitchFamily="34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5pPr>
      <a:lvl6pPr marL="502920" indent="-228600" algn="l" rtl="0" fontAlgn="base">
        <a:spcBef>
          <a:spcPct val="2000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>
          <a:solidFill>
            <a:schemeClr val="tx2">
              <a:lumMod val="65000"/>
              <a:lumOff val="35000"/>
            </a:schemeClr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Freeform 84">
            <a:extLst>
              <a:ext uri="{FF2B5EF4-FFF2-40B4-BE49-F238E27FC236}">
                <a16:creationId xmlns:a16="http://schemas.microsoft.com/office/drawing/2014/main" id="{A0395516-B671-4F92-A043-4E79CC001E60}"/>
              </a:ext>
            </a:extLst>
          </p:cNvPr>
          <p:cNvSpPr>
            <a:spLocks/>
          </p:cNvSpPr>
          <p:nvPr/>
        </p:nvSpPr>
        <p:spPr bwMode="auto">
          <a:xfrm flipH="1">
            <a:off x="8189913" y="6323013"/>
            <a:ext cx="349250" cy="534987"/>
          </a:xfrm>
          <a:custGeom>
            <a:avLst/>
            <a:gdLst>
              <a:gd name="T0" fmla="*/ 0 w 638"/>
              <a:gd name="T1" fmla="*/ 0 h 1194"/>
              <a:gd name="T2" fmla="*/ 2147483647 w 638"/>
              <a:gd name="T3" fmla="*/ 2147483647 h 1194"/>
              <a:gd name="T4" fmla="*/ 2147483647 w 638"/>
              <a:gd name="T5" fmla="*/ 2147483647 h 1194"/>
              <a:gd name="T6" fmla="*/ 2147483647 w 638"/>
              <a:gd name="T7" fmla="*/ 2147483647 h 1194"/>
              <a:gd name="T8" fmla="*/ 2147483647 w 638"/>
              <a:gd name="T9" fmla="*/ 2147483647 h 1194"/>
              <a:gd name="T10" fmla="*/ 2147483647 w 638"/>
              <a:gd name="T11" fmla="*/ 2147483647 h 1194"/>
              <a:gd name="T12" fmla="*/ 2147483647 w 638"/>
              <a:gd name="T13" fmla="*/ 2147483647 h 1194"/>
              <a:gd name="T14" fmla="*/ 2147483647 w 638"/>
              <a:gd name="T15" fmla="*/ 2147483647 h 1194"/>
              <a:gd name="T16" fmla="*/ 2147483647 w 638"/>
              <a:gd name="T17" fmla="*/ 2147483647 h 1194"/>
              <a:gd name="T18" fmla="*/ 2147483647 w 638"/>
              <a:gd name="T19" fmla="*/ 2147483647 h 1194"/>
              <a:gd name="T20" fmla="*/ 2147483647 w 638"/>
              <a:gd name="T21" fmla="*/ 2147483647 h 1194"/>
              <a:gd name="T22" fmla="*/ 2147483647 w 638"/>
              <a:gd name="T23" fmla="*/ 2147483647 h 1194"/>
              <a:gd name="T24" fmla="*/ 2147483647 w 638"/>
              <a:gd name="T25" fmla="*/ 2147483647 h 1194"/>
              <a:gd name="T26" fmla="*/ 2147483647 w 638"/>
              <a:gd name="T27" fmla="*/ 2147483647 h 1194"/>
              <a:gd name="T28" fmla="*/ 2147483647 w 638"/>
              <a:gd name="T29" fmla="*/ 2147483647 h 1194"/>
              <a:gd name="T30" fmla="*/ 2147483647 w 638"/>
              <a:gd name="T31" fmla="*/ 2147483647 h 1194"/>
              <a:gd name="T32" fmla="*/ 2147483647 w 638"/>
              <a:gd name="T33" fmla="*/ 2147483647 h 1194"/>
              <a:gd name="T34" fmla="*/ 2147483647 w 638"/>
              <a:gd name="T35" fmla="*/ 2147483647 h 1194"/>
              <a:gd name="T36" fmla="*/ 2147483647 w 638"/>
              <a:gd name="T37" fmla="*/ 2147483647 h 1194"/>
              <a:gd name="T38" fmla="*/ 2147483647 w 638"/>
              <a:gd name="T39" fmla="*/ 2147483647 h 1194"/>
              <a:gd name="T40" fmla="*/ 2147483647 w 638"/>
              <a:gd name="T41" fmla="*/ 2147483647 h 1194"/>
              <a:gd name="T42" fmla="*/ 2147483647 w 638"/>
              <a:gd name="T43" fmla="*/ 2147483647 h 1194"/>
              <a:gd name="T44" fmla="*/ 2147483647 w 638"/>
              <a:gd name="T45" fmla="*/ 2147483647 h 1194"/>
              <a:gd name="T46" fmla="*/ 2147483647 w 638"/>
              <a:gd name="T47" fmla="*/ 2147483647 h 1194"/>
              <a:gd name="T48" fmla="*/ 2147483647 w 638"/>
              <a:gd name="T49" fmla="*/ 2147483647 h 1194"/>
              <a:gd name="T50" fmla="*/ 2147483647 w 638"/>
              <a:gd name="T51" fmla="*/ 2147483647 h 1194"/>
              <a:gd name="T52" fmla="*/ 2147483647 w 638"/>
              <a:gd name="T53" fmla="*/ 2147483647 h 1194"/>
              <a:gd name="T54" fmla="*/ 2147483647 w 638"/>
              <a:gd name="T55" fmla="*/ 1799012972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/>
          <a:lstStyle/>
          <a:p>
            <a:endParaRPr lang="en-US"/>
          </a:p>
        </p:txBody>
      </p:sp>
      <p:sp>
        <p:nvSpPr>
          <p:cNvPr id="2051" name="Freeform 85">
            <a:extLst>
              <a:ext uri="{FF2B5EF4-FFF2-40B4-BE49-F238E27FC236}">
                <a16:creationId xmlns:a16="http://schemas.microsoft.com/office/drawing/2014/main" id="{9A876958-6681-44E3-8FFF-73B1A3EB73A4}"/>
              </a:ext>
            </a:extLst>
          </p:cNvPr>
          <p:cNvSpPr>
            <a:spLocks/>
          </p:cNvSpPr>
          <p:nvPr/>
        </p:nvSpPr>
        <p:spPr bwMode="auto">
          <a:xfrm flipH="1">
            <a:off x="8545513" y="6146800"/>
            <a:ext cx="246062" cy="165100"/>
          </a:xfrm>
          <a:custGeom>
            <a:avLst/>
            <a:gdLst>
              <a:gd name="T0" fmla="*/ 2147483647 w 448"/>
              <a:gd name="T1" fmla="*/ 2147483647 h 372"/>
              <a:gd name="T2" fmla="*/ 2147483647 w 448"/>
              <a:gd name="T3" fmla="*/ 2147483647 h 372"/>
              <a:gd name="T4" fmla="*/ 2147483647 w 448"/>
              <a:gd name="T5" fmla="*/ 2147483647 h 372"/>
              <a:gd name="T6" fmla="*/ 2147483647 w 448"/>
              <a:gd name="T7" fmla="*/ 2147483647 h 372"/>
              <a:gd name="T8" fmla="*/ 2147483647 w 448"/>
              <a:gd name="T9" fmla="*/ 2147483647 h 372"/>
              <a:gd name="T10" fmla="*/ 2147483647 w 448"/>
              <a:gd name="T11" fmla="*/ 2147483647 h 372"/>
              <a:gd name="T12" fmla="*/ 0 w 448"/>
              <a:gd name="T13" fmla="*/ 0 h 372"/>
              <a:gd name="T14" fmla="*/ 2147483647 w 448"/>
              <a:gd name="T15" fmla="*/ 0 h 372"/>
              <a:gd name="T16" fmla="*/ 2147483647 w 448"/>
              <a:gd name="T17" fmla="*/ 2147483647 h 372"/>
              <a:gd name="T18" fmla="*/ 2147483647 w 448"/>
              <a:gd name="T19" fmla="*/ 2147483647 h 372"/>
              <a:gd name="T20" fmla="*/ 2147483647 w 448"/>
              <a:gd name="T21" fmla="*/ 2147483647 h 372"/>
              <a:gd name="T22" fmla="*/ 2147483647 w 448"/>
              <a:gd name="T23" fmla="*/ 2147483647 h 372"/>
              <a:gd name="T24" fmla="*/ 2147483647 w 448"/>
              <a:gd name="T25" fmla="*/ 2147483647 h 372"/>
              <a:gd name="T26" fmla="*/ 2147483647 w 448"/>
              <a:gd name="T27" fmla="*/ 2147483647 h 372"/>
              <a:gd name="T28" fmla="*/ 2147483647 w 448"/>
              <a:gd name="T29" fmla="*/ 2147483647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/>
          <a:lstStyle/>
          <a:p>
            <a:endParaRPr lang="en-US"/>
          </a:p>
        </p:txBody>
      </p:sp>
      <p:sp>
        <p:nvSpPr>
          <p:cNvPr id="2052" name="Rectangle 2">
            <a:extLst>
              <a:ext uri="{FF2B5EF4-FFF2-40B4-BE49-F238E27FC236}">
                <a16:creationId xmlns:a16="http://schemas.microsoft.com/office/drawing/2014/main" id="{B53E3D77-2D79-4C0F-B263-F7A4D2FE72BB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357188" y="301625"/>
            <a:ext cx="8461375" cy="1208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33" name="Rectangle 3">
            <a:extLst>
              <a:ext uri="{FF2B5EF4-FFF2-40B4-BE49-F238E27FC236}">
                <a16:creationId xmlns:a16="http://schemas.microsoft.com/office/drawing/2014/main" id="{E717C7F2-09B8-48FD-92A8-8F7BDD8839B4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357188" y="1697038"/>
            <a:ext cx="8478837" cy="4389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Paragraph content</a:t>
            </a:r>
          </a:p>
          <a:p>
            <a:pPr lvl="1"/>
            <a:r>
              <a:rPr lang="en-US"/>
              <a:t>Bullets</a:t>
            </a:r>
          </a:p>
          <a:p>
            <a:pPr lvl="5"/>
            <a:r>
              <a:rPr lang="en-US"/>
              <a:t>Bullets</a:t>
            </a:r>
          </a:p>
          <a:p>
            <a:pPr lvl="3"/>
            <a:r>
              <a:rPr lang="en-US"/>
              <a:t>Bullets</a:t>
            </a:r>
          </a:p>
          <a:p>
            <a:pPr lvl="4"/>
            <a:r>
              <a:rPr lang="en-US"/>
              <a:t>Bullets</a:t>
            </a:r>
          </a:p>
        </p:txBody>
      </p:sp>
      <p:sp>
        <p:nvSpPr>
          <p:cNvPr id="2054" name="TextBox 7">
            <a:extLst>
              <a:ext uri="{FF2B5EF4-FFF2-40B4-BE49-F238E27FC236}">
                <a16:creationId xmlns:a16="http://schemas.microsoft.com/office/drawing/2014/main" id="{A5DD15D1-D7E3-4BEF-B088-0F86437D232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683625" y="6207125"/>
            <a:ext cx="18415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9pPr>
          </a:lstStyle>
          <a:p>
            <a:pPr eaLnBrk="1" hangingPunct="1">
              <a:defRPr/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F949415-C68B-4256-8C6D-36EF938F5E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60363" y="6356350"/>
            <a:ext cx="317500" cy="3651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lvl1pPr>
              <a:defRPr sz="1100" b="0">
                <a:solidFill>
                  <a:srgbClr val="59595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1pPr>
          </a:lstStyle>
          <a:p>
            <a:fld id="{C3D4A14B-44FE-4C93-ADE7-2ADD85523BB2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405C56D-F3D2-4AAD-A017-DBDF3BC173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41363" y="6356350"/>
            <a:ext cx="5915025" cy="36512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100" b="0" baseline="0">
                <a:solidFill>
                  <a:schemeClr val="tx2">
                    <a:lumMod val="65000"/>
                    <a:lumOff val="35000"/>
                  </a:schemeClr>
                </a:solidFill>
                <a:latin typeface="+mn-lt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42360301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74" r:id="rId1"/>
    <p:sldLayoutId id="2147485475" r:id="rId2"/>
    <p:sldLayoutId id="2147485476" r:id="rId3"/>
    <p:sldLayoutId id="2147485477" r:id="rId4"/>
    <p:sldLayoutId id="2147485478" r:id="rId5"/>
    <p:sldLayoutId id="2147485479" r:id="rId6"/>
    <p:sldLayoutId id="2147485480" r:id="rId7"/>
    <p:sldLayoutId id="2147485481" r:id="rId8"/>
    <p:sldLayoutId id="2147485482" r:id="rId9"/>
    <p:sldLayoutId id="2147485483" r:id="rId10"/>
    <p:sldLayoutId id="2147485484" r:id="rId11"/>
    <p:sldLayoutId id="2147485485" r:id="rId12"/>
    <p:sldLayoutId id="2147485486" r:id="rId13"/>
    <p:sldLayoutId id="2147485487" r:id="rId14"/>
    <p:sldLayoutId id="2147485488" r:id="rId15"/>
    <p:sldLayoutId id="2147485489" r:id="rId16"/>
    <p:sldLayoutId id="2147485490" r:id="rId17"/>
    <p:sldLayoutId id="2147485491" r:id="rId18"/>
    <p:sldLayoutId id="2147485492" r:id="rId19"/>
    <p:sldLayoutId id="2147485493" r:id="rId20"/>
    <p:sldLayoutId id="2147485523" r:id="rId21"/>
    <p:sldLayoutId id="2147485531" r:id="rId22"/>
  </p:sldLayoutIdLst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buFont typeface="Arial" panose="020B0604020202020204" pitchFamily="34" charset="0"/>
        <a:defRPr sz="2200">
          <a:solidFill>
            <a:schemeClr val="tx1"/>
          </a:solidFill>
          <a:latin typeface="+mn-lt"/>
          <a:ea typeface="MS PGothic" pitchFamily="34" charset="-128"/>
          <a:cs typeface="Andes ExtraLight"/>
        </a:defRPr>
      </a:lvl1pPr>
      <a:lvl2pPr algn="l" rtl="0" eaLnBrk="0" fontAlgn="base" hangingPunct="0">
        <a:spcBef>
          <a:spcPct val="0"/>
        </a:spcBef>
        <a:spcAft>
          <a:spcPct val="0"/>
        </a:spcAft>
        <a:buFont typeface="Arial" panose="020B0604020202020204" pitchFamily="34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buFont typeface="Arial" panose="020B0604020202020204" pitchFamily="34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buFont typeface="Arial" panose="020B0604020202020204" pitchFamily="34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buFont typeface="Arial" panose="020B0604020202020204" pitchFamily="34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9pPr>
    </p:titleStyle>
    <p:bodyStyle>
      <a:lvl1pPr marL="342900" indent="-342900" algn="l" rtl="0" eaLnBrk="0" fontAlgn="base" hangingPunct="0">
        <a:lnSpc>
          <a:spcPct val="150000"/>
        </a:lnSpc>
        <a:spcBef>
          <a:spcPts val="1800"/>
        </a:spcBef>
        <a:spcAft>
          <a:spcPct val="0"/>
        </a:spcAft>
        <a:buClr>
          <a:srgbClr val="404040"/>
        </a:buClr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1pPr>
      <a:lvl2pPr marL="2857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panose="020B0604020202020204" pitchFamily="34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2pPr>
      <a:lvl3pPr marL="2857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>
          <a:solidFill>
            <a:schemeClr val="tx2"/>
          </a:solidFill>
          <a:latin typeface="Arial"/>
          <a:ea typeface="MS PGothic" pitchFamily="34" charset="-128"/>
          <a:cs typeface="Arial"/>
        </a:defRPr>
      </a:lvl3pPr>
      <a:lvl4pPr marL="8318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panose="020B0604020202020204" pitchFamily="34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4pPr>
      <a:lvl5pPr marL="1196975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panose="020B0604020202020204" pitchFamily="34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5pPr>
      <a:lvl6pPr marL="502920" indent="-228600" algn="l" rtl="0" fontAlgn="base">
        <a:spcBef>
          <a:spcPct val="2000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>
          <a:solidFill>
            <a:schemeClr val="tx2">
              <a:lumMod val="65000"/>
              <a:lumOff val="35000"/>
            </a:schemeClr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871538"/>
            <a:ext cx="7772400" cy="563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81200"/>
            <a:ext cx="77724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2847975" y="6356352"/>
            <a:ext cx="5600700" cy="328613"/>
          </a:xfrm>
          <a:prstGeom prst="rect">
            <a:avLst/>
          </a:prstGeom>
        </p:spPr>
        <p:txBody>
          <a:bodyPr vert="horz" lIns="0" tIns="0" rIns="91440" bIns="0" rtlCol="0" anchor="b">
            <a:normAutofit/>
          </a:bodyPr>
          <a:lstStyle>
            <a:lvl1pPr algn="r">
              <a:defRPr sz="1400" b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684213" y="6329365"/>
            <a:ext cx="2133600" cy="365125"/>
          </a:xfrm>
          <a:prstGeom prst="rect">
            <a:avLst/>
          </a:prstGeom>
        </p:spPr>
        <p:txBody>
          <a:bodyPr vert="horz" lIns="0" tIns="0" rIns="91440" bIns="0" rtlCol="0" anchor="b">
            <a:normAutofit/>
          </a:bodyPr>
          <a:lstStyle>
            <a:lvl1pPr algn="l">
              <a:defRPr sz="1400" b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55092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98" r:id="rId1"/>
    <p:sldLayoutId id="2147485499" r:id="rId2"/>
    <p:sldLayoutId id="2147485500" r:id="rId3"/>
    <p:sldLayoutId id="2147485502" r:id="rId4"/>
  </p:sldLayoutIdLs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600" cap="all">
          <a:solidFill>
            <a:schemeClr val="tx1"/>
          </a:solidFill>
          <a:latin typeface="+mj-lt"/>
          <a:ea typeface="MS PGothic" pitchFamily="34" charset="-128"/>
          <a:cs typeface="ＭＳ Ｐゴシック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MS PGothic" pitchFamily="34" charset="-128"/>
          <a:cs typeface="ＭＳ Ｐゴシック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MS PGothic" pitchFamily="34" charset="-128"/>
          <a:cs typeface="ＭＳ Ｐゴシック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MS PGothic" pitchFamily="34" charset="-128"/>
          <a:cs typeface="ＭＳ Ｐゴシック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MS PGothic" pitchFamily="34" charset="-128"/>
          <a:cs typeface="ＭＳ Ｐゴシック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9pPr>
    </p:titleStyle>
    <p:bodyStyle>
      <a:lvl1pPr marL="342900" indent="-342900" algn="l" rtl="0" eaLnBrk="1" fontAlgn="base" hangingPunct="1">
        <a:lnSpc>
          <a:spcPct val="115000"/>
        </a:lnSpc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  <a:cs typeface="ＭＳ Ｐゴシック" charset="0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Font typeface="Wingdings" panose="05000000000000000000" pitchFamily="2" charset="2"/>
        <a:defRPr>
          <a:solidFill>
            <a:schemeClr val="tx1"/>
          </a:solidFill>
          <a:latin typeface="+mn-lt"/>
          <a:ea typeface="MS PGothic" pitchFamily="34" charset="-128"/>
        </a:defRPr>
      </a:lvl2pPr>
      <a:lvl3pPr marL="4763" indent="909638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9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9.xml"/><Relationship Id="rId1" Type="http://schemas.openxmlformats.org/officeDocument/2006/relationships/themeOverride" Target="../theme/themeOverride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9.xml"/><Relationship Id="rId1" Type="http://schemas.openxmlformats.org/officeDocument/2006/relationships/themeOverride" Target="../theme/themeOverride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9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nam03.safelinks.protection.outlook.com/?url=https%3A%2F%2Fdesktop.github.com%2F&amp;data=02%7C01%7Ctmasaki%40worldbank.org%7C5d0ff22daa804ec5417708d740fe6c0a%7C31a2fec0266b4c67b56e2796d8f59c36%7C0%7C0%7C637049333812818302&amp;sdata=tvSNkaBi%2Fm8J%2FKiClwDU6JHXdJGnjjnRqvIiYx6HHJ0%3D&amp;reserved=0" TargetMode="External"/><Relationship Id="rId2" Type="http://schemas.openxmlformats.org/officeDocument/2006/relationships/hyperlink" Target="https://nam03.safelinks.protection.outlook.com/?url=https%3A%2F%2Fgithub.com%2F&amp;data=02%7C01%7Ctmasaki%40worldbank.org%7C5d0ff22daa804ec5417708d740fe6c0a%7C31a2fec0266b4c67b56e2796d8f59c36%7C0%7C0%7C637049333812818302&amp;sdata=6KcgE2XUKKFaRRkAZPyaaGNlDoLc8avrn3%2BKYrqlcAA%3D&amp;reserved=0" TargetMode="External"/><Relationship Id="rId1" Type="http://schemas.openxmlformats.org/officeDocument/2006/relationships/slideLayout" Target="../slideLayouts/slideLayout49.xml"/><Relationship Id="rId5" Type="http://schemas.openxmlformats.org/officeDocument/2006/relationships/hyperlink" Target="https://www.sourcetreeapp.com/" TargetMode="External"/><Relationship Id="rId4" Type="http://schemas.openxmlformats.org/officeDocument/2006/relationships/hyperlink" Target="https://www.gitkraken.com/" TargetMode="Externa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9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takaakimasaki/jdc-github-training" TargetMode="External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9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9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9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s://codeburst.io/let-the-branch-name-do-all-the-talking-in-git-e614ff85aa30" TargetMode="External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9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hyperlink" Target="https://codeburst.io/let-the-branch-name-do-all-the-talking-in-git-e614ff85aa30" TargetMode="External"/><Relationship Id="rId1" Type="http://schemas.openxmlformats.org/officeDocument/2006/relationships/slideLayout" Target="../slideLayouts/slideLayout49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hyperlink" Target="https://codeburst.io/let-the-branch-name-do-all-the-talking-in-git-e614ff85aa30" TargetMode="External"/><Relationship Id="rId1" Type="http://schemas.openxmlformats.org/officeDocument/2006/relationships/slideLayout" Target="../slideLayouts/slideLayout49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9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4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9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9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49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49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49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hyperlink" Target="https://help.github.com/en/github/collaborating-with-issues-and-pull-requests/resolving-a-merge-conflict-using-the-command-line" TargetMode="External"/><Relationship Id="rId1" Type="http://schemas.openxmlformats.org/officeDocument/2006/relationships/slideLayout" Target="../slideLayouts/slideLayout49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4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hyperlink" Target="https://youtu.be/gKGOeTFHnKY" TargetMode="External"/><Relationship Id="rId1" Type="http://schemas.openxmlformats.org/officeDocument/2006/relationships/slideLayout" Target="../slideLayouts/slideLayout2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hyperlink" Target="https://earthengine.google.com/" TargetMode="External"/><Relationship Id="rId1" Type="http://schemas.openxmlformats.org/officeDocument/2006/relationships/slideLayout" Target="../slideLayouts/slideLayout2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anaconda.com/download/success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9.xml"/><Relationship Id="rId4" Type="http://schemas.openxmlformats.org/officeDocument/2006/relationships/hyperlink" Target="https://geemap.org/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anaconda.com/download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6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0B4985-5844-4EB1-9DE5-6177B9061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+mj-lt"/>
                <a:cs typeface="+mj-lt"/>
              </a:rPr>
              <a:t>Day 6: introduction to google earth engine and </a:t>
            </a:r>
            <a:r>
              <a:rPr lang="en-US" dirty="0" err="1">
                <a:ea typeface="+mj-lt"/>
                <a:cs typeface="+mj-lt"/>
              </a:rPr>
              <a:t>github</a:t>
            </a:r>
            <a:endParaRPr lang="en-US" b="0" dirty="0">
              <a:ea typeface="+mj-lt"/>
              <a:cs typeface="+mj-lt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23673E8-12C1-4920-980E-880DA27CB9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262626"/>
                </a:solidFill>
                <a:latin typeface="Segoe UI" panose="020B0502040204020203" pitchFamily="34" charset="0"/>
              </a:rPr>
              <a:t>Takaaki Masaki</a:t>
            </a:r>
            <a:endParaRPr lang="en-US" sz="1800" dirty="0">
              <a:latin typeface="Arial" panose="020B0604020202020204" pitchFamily="34" charset="0"/>
            </a:endParaRPr>
          </a:p>
          <a:p>
            <a:r>
              <a:rPr lang="en-US" sz="1800" dirty="0">
                <a:solidFill>
                  <a:srgbClr val="262626"/>
                </a:solidFill>
                <a:latin typeface="Segoe UI" panose="020B0502040204020203" pitchFamily="34" charset="0"/>
              </a:rPr>
              <a:t>Revocatus Paul</a:t>
            </a:r>
          </a:p>
        </p:txBody>
      </p:sp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8148C4B5-924E-41B6-900F-2AC7725246C0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2"/>
          <a:srcRect l="-1482" r="211"/>
          <a:stretch/>
        </p:blipFill>
        <p:spPr>
          <a:xfrm>
            <a:off x="170122" y="4932933"/>
            <a:ext cx="5135525" cy="1159705"/>
          </a:xfrm>
        </p:spPr>
      </p:pic>
    </p:spTree>
    <p:extLst>
      <p:ext uri="{BB962C8B-B14F-4D97-AF65-F5344CB8AC3E}">
        <p14:creationId xmlns:p14="http://schemas.microsoft.com/office/powerpoint/2010/main" val="253971203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084859-E6BB-8FD6-D354-031003A96F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Get Python and </a:t>
            </a:r>
            <a:r>
              <a:rPr lang="en-US" b="1" dirty="0" err="1">
                <a:latin typeface="Calibri" panose="020F0502020204030204" pitchFamily="34" charset="0"/>
                <a:cs typeface="Calibri" panose="020F0502020204030204" pitchFamily="34" charset="0"/>
              </a:rPr>
              <a:t>geemap</a:t>
            </a:r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 Packag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DEBF080-9AF4-F7EC-54CA-94D42978DBAB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w you are ready to use GEE!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ype in the following in Anaconda Prompt:</a:t>
            </a:r>
          </a:p>
          <a:p>
            <a:pPr marL="272034" lvl="2" indent="0">
              <a:buNone/>
            </a:pPr>
            <a:endParaRPr lang="en-US" dirty="0">
              <a:solidFill>
                <a:srgbClr val="36464E"/>
              </a:solidFill>
              <a:highlight>
                <a:srgbClr val="C0C0C0"/>
              </a:highlight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72034" lvl="2" indent="0">
              <a:buNone/>
            </a:pPr>
            <a:r>
              <a:rPr lang="en-US" dirty="0">
                <a:solidFill>
                  <a:srgbClr val="36464E"/>
                </a:solidFill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cd “**path**“</a:t>
            </a:r>
          </a:p>
          <a:p>
            <a:pPr marL="272034" lvl="2" indent="0">
              <a:buNone/>
            </a:pPr>
            <a:r>
              <a:rPr lang="en-US" dirty="0" err="1">
                <a:solidFill>
                  <a:srgbClr val="36464E"/>
                </a:solidFill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jupyter</a:t>
            </a:r>
            <a:r>
              <a:rPr lang="en-US" dirty="0">
                <a:solidFill>
                  <a:srgbClr val="36464E"/>
                </a:solidFill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 notebook</a:t>
            </a:r>
          </a:p>
          <a:p>
            <a:pPr marL="0" lvl="2" indent="0">
              <a:spcBef>
                <a:spcPts val="1200"/>
              </a:spcBef>
              <a:buClr>
                <a:srgbClr val="404040"/>
              </a:buClr>
              <a:buNone/>
            </a:pPr>
            <a:r>
              <a:rPr lang="en-US" dirty="0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**This path should be where your .</a:t>
            </a:r>
            <a:r>
              <a:rPr lang="en-US" dirty="0" err="1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pynb</a:t>
            </a:r>
            <a:r>
              <a:rPr lang="en-US" dirty="0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code exists.</a:t>
            </a:r>
          </a:p>
          <a:p>
            <a:pPr marL="342900" lvl="2" indent="-342900">
              <a:spcBef>
                <a:spcPts val="1200"/>
              </a:spcBef>
              <a:buClr>
                <a:srgbClr val="404040"/>
              </a:buClr>
            </a:pPr>
            <a:r>
              <a:rPr lang="en-US" dirty="0" err="1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upyter</a:t>
            </a:r>
            <a:r>
              <a:rPr lang="en-US" dirty="0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Notebook: server-client application that allows editing and running notebook documents via a web browser</a:t>
            </a:r>
          </a:p>
          <a:p>
            <a:pPr marL="342900" lvl="2" indent="-342900">
              <a:spcBef>
                <a:spcPts val="1200"/>
              </a:spcBef>
              <a:buClr>
                <a:srgbClr val="404040"/>
              </a:buClr>
            </a:pPr>
            <a:r>
              <a:rPr lang="en-US" dirty="0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 will take you to a web browser where you can write scripts to run analysis in Python (or other programming languages)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E925ABF-40AB-47D3-AF1A-3B766275F7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3773953-4A14-FF5A-87BA-7A1406491F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C0524-9AED-456C-BADC-F0F6F26BD804}" type="slidenum">
              <a:rPr lang="en-US" altLang="en-US" smtClean="0"/>
              <a:pPr/>
              <a:t>9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85284301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C7B8E4-7A3C-153A-F862-EA4B0B558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Example 1: Working with NDVI data through GE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482B78-A21D-BE49-1A94-EA2DBCE24914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pPr algn="ctr"/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FF85B8D-3F4C-BDC2-1B76-B739A6F92D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72F42E-817A-7CC3-FC2C-5A6C2540EB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C0524-9AED-456C-BADC-F0F6F26BD804}" type="slidenum">
              <a:rPr lang="en-US" altLang="en-US" smtClean="0"/>
              <a:pPr/>
              <a:t>10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30457866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1226A3-FD12-4BA7-ABF5-9D40868807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cap="none" dirty="0">
                <a:ea typeface="MS PGothic"/>
              </a:rPr>
              <a:t>Introduction to GitHub</a:t>
            </a:r>
          </a:p>
        </p:txBody>
      </p:sp>
    </p:spTree>
    <p:extLst>
      <p:ext uri="{BB962C8B-B14F-4D97-AF65-F5344CB8AC3E}">
        <p14:creationId xmlns:p14="http://schemas.microsoft.com/office/powerpoint/2010/main" val="348277483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13A47DE-7561-4FE3-9F27-DC51EA2C4A8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/>
            <a:r>
              <a:rPr lang="en-US" i="1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The </a:t>
            </a:r>
            <a:r>
              <a:rPr lang="en-US" dirty="0">
                <a:solidFill>
                  <a:schemeClr val="tx2">
                    <a:lumMod val="95000"/>
                    <a:lumOff val="5000"/>
                  </a:schemeClr>
                </a:solidFill>
                <a:latin typeface="+mn-lt"/>
              </a:rPr>
              <a:t>ability</a:t>
            </a:r>
            <a:r>
              <a:rPr lang="en-US" i="1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 to duplicate the results of a prior study using the same results of a prior study using the same materials and procedures as were used by the original investigator – </a:t>
            </a:r>
            <a:r>
              <a:rPr lang="en-US" i="1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Bollen</a:t>
            </a:r>
            <a:r>
              <a:rPr lang="en-US" i="1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 et al (2015)</a:t>
            </a:r>
          </a:p>
          <a:p>
            <a:pPr>
              <a:buFontTx/>
              <a:buChar char="-"/>
            </a:pPr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Most researchers, at one point, have been unable to reproduce their </a:t>
            </a:r>
            <a:r>
              <a:rPr lang="en-US" b="1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own</a:t>
            </a:r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 results</a:t>
            </a:r>
          </a:p>
          <a:p>
            <a:pPr>
              <a:buFontTx/>
              <a:buChar char="-"/>
            </a:pPr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This happens quite often at our institution as well</a:t>
            </a:r>
          </a:p>
          <a:p>
            <a:pPr lvl="1">
              <a:buFontTx/>
              <a:buChar char="-"/>
            </a:pPr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How many of us have run our own programs and get different results?</a:t>
            </a:r>
          </a:p>
          <a:p>
            <a:pPr lvl="1">
              <a:buFontTx/>
              <a:buChar char="-"/>
            </a:pPr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How many of us have shared a project with a colleague and she gets different results? Or a colleague shares a project with you and you can’t reproduce their published results?</a:t>
            </a:r>
          </a:p>
          <a:p>
            <a:pPr lvl="1">
              <a:buFontTx/>
              <a:buChar char="-"/>
            </a:pPr>
            <a:endParaRPr lang="en-US" dirty="0">
              <a:latin typeface="+mn-lt"/>
            </a:endParaRPr>
          </a:p>
          <a:p>
            <a:pPr>
              <a:buFontTx/>
              <a:buChar char="-"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F71E584-1BC9-4276-B05F-5114C28331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40EC01-2D2E-4C25-A991-65C1A3C8AE89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5523C69-CF77-4327-BD71-6F569FE0A918}"/>
              </a:ext>
            </a:extLst>
          </p:cNvPr>
          <p:cNvSpPr txBox="1">
            <a:spLocks/>
          </p:cNvSpPr>
          <p:nvPr/>
        </p:nvSpPr>
        <p:spPr bwMode="auto">
          <a:xfrm>
            <a:off x="357188" y="771525"/>
            <a:ext cx="8135177" cy="7697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 fontScale="97500"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600" cap="all">
                <a:solidFill>
                  <a:srgbClr val="0070C0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 Bold" charset="0"/>
                <a:ea typeface="MS PGothic" pitchFamily="34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 Bold" charset="0"/>
                <a:ea typeface="MS PGothic" pitchFamily="34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 Bold" charset="0"/>
                <a:ea typeface="MS PGothic" pitchFamily="34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 Bold" charset="0"/>
                <a:ea typeface="MS PGothic" pitchFamily="34" charset="-128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9pPr>
          </a:lstStyle>
          <a:p>
            <a:r>
              <a:rPr lang="en-US" sz="2700" kern="0" cap="none" dirty="0">
                <a:solidFill>
                  <a:srgbClr val="00234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oducibility – a crisis</a:t>
            </a:r>
          </a:p>
        </p:txBody>
      </p:sp>
    </p:spTree>
    <p:extLst>
      <p:ext uri="{BB962C8B-B14F-4D97-AF65-F5344CB8AC3E}">
        <p14:creationId xmlns:p14="http://schemas.microsoft.com/office/powerpoint/2010/main" val="39496507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13A47DE-7561-4FE3-9F27-DC51EA2C4A8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2580" y="1234281"/>
            <a:ext cx="8478837" cy="4389437"/>
          </a:xfrm>
        </p:spPr>
        <p:txBody>
          <a:bodyPr/>
          <a:lstStyle/>
          <a:p>
            <a:pPr marL="0" indent="0"/>
            <a:endParaRPr lang="en-US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marL="0" indent="0"/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</a:rPr>
              <a:t>Reproducibility can only be achieved if you have the following ingredients in place: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</a:rPr>
              <a:t>The same software is used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</a:rPr>
              <a:t>The same programs are used – e.g. do-files and </a:t>
            </a:r>
            <a:r>
              <a:rPr lang="en-US" dirty="0" err="1">
                <a:solidFill>
                  <a:schemeClr val="tx1">
                    <a:lumMod val="90000"/>
                    <a:lumOff val="10000"/>
                  </a:schemeClr>
                </a:solidFill>
              </a:rPr>
              <a:t>ados</a:t>
            </a:r>
            <a:endParaRPr lang="en-US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</a:rPr>
              <a:t>The same data is used</a:t>
            </a:r>
          </a:p>
          <a:p>
            <a:pPr marL="0" indent="0"/>
            <a:endParaRPr lang="en-US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marL="0" indent="0"/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</a:rPr>
              <a:t>When things go right no one notices, but when they don’t it’s a different story.</a:t>
            </a:r>
          </a:p>
          <a:p>
            <a:pPr marL="0" indent="0"/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</a:rPr>
              <a:t>Today we will go over how to set things up so you can achieve this with less pain</a:t>
            </a:r>
          </a:p>
          <a:p>
            <a:pPr lvl="1">
              <a:buFontTx/>
              <a:buChar char="-"/>
            </a:pPr>
            <a:endParaRPr lang="en-US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>
              <a:buFontTx/>
              <a:buChar char="-"/>
            </a:pPr>
            <a:endParaRPr lang="en-US" dirty="0">
              <a:solidFill>
                <a:schemeClr val="tx1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F71E584-1BC9-4276-B05F-5114C28331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40EC01-2D2E-4C25-A991-65C1A3C8AE89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5523C69-CF77-4327-BD71-6F569FE0A918}"/>
              </a:ext>
            </a:extLst>
          </p:cNvPr>
          <p:cNvSpPr txBox="1">
            <a:spLocks/>
          </p:cNvSpPr>
          <p:nvPr/>
        </p:nvSpPr>
        <p:spPr bwMode="auto">
          <a:xfrm>
            <a:off x="504411" y="386628"/>
            <a:ext cx="8135177" cy="7697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 fontScale="97500"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600" cap="all">
                <a:solidFill>
                  <a:srgbClr val="0070C0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 Bold" charset="0"/>
                <a:ea typeface="MS PGothic" pitchFamily="34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 Bold" charset="0"/>
                <a:ea typeface="MS PGothic" pitchFamily="34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 Bold" charset="0"/>
                <a:ea typeface="MS PGothic" pitchFamily="34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 Bold" charset="0"/>
                <a:ea typeface="MS PGothic" pitchFamily="34" charset="-128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9pPr>
          </a:lstStyle>
          <a:p>
            <a:r>
              <a:rPr lang="en-US" sz="2700" kern="0" cap="none" dirty="0">
                <a:solidFill>
                  <a:srgbClr val="002345"/>
                </a:solidFill>
                <a:latin typeface="+mn-lt"/>
              </a:rPr>
              <a:t>Reproducibility requires planning</a:t>
            </a:r>
          </a:p>
        </p:txBody>
      </p:sp>
    </p:spTree>
    <p:extLst>
      <p:ext uri="{BB962C8B-B14F-4D97-AF65-F5344CB8AC3E}">
        <p14:creationId xmlns:p14="http://schemas.microsoft.com/office/powerpoint/2010/main" val="20584206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607705-2363-48B8-A03D-3D9DAFD7EF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7188" y="301625"/>
            <a:ext cx="8461375" cy="576199"/>
          </a:xfrm>
        </p:spPr>
        <p:txBody>
          <a:bodyPr/>
          <a:lstStyle/>
          <a:p>
            <a:r>
              <a:rPr lang="en-US" b="1" dirty="0">
                <a:solidFill>
                  <a:srgbClr val="00234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hat are Git and </a:t>
            </a:r>
            <a:r>
              <a:rPr lang="en-US" b="1" dirty="0" err="1">
                <a:solidFill>
                  <a:srgbClr val="00234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ithub</a:t>
            </a:r>
            <a:r>
              <a:rPr lang="en-US" b="1" dirty="0">
                <a:solidFill>
                  <a:srgbClr val="00234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A060F19-BE99-4175-8B04-FDF35971B1B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3319" y="1251109"/>
            <a:ext cx="3738122" cy="5305266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600" b="1" dirty="0">
                <a:latin typeface="Calibri" panose="020F0502020204030204" pitchFamily="34" charset="0"/>
                <a:cs typeface="Calibri" panose="020F0502020204030204" pitchFamily="34" charset="0"/>
              </a:rPr>
              <a:t>Git</a:t>
            </a:r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 is a developer application that allows for version control, allowing you to: </a:t>
            </a:r>
          </a:p>
          <a:p>
            <a:pPr lvl="3">
              <a:lnSpc>
                <a:spcPct val="100000"/>
              </a:lnSpc>
              <a:spcBef>
                <a:spcPts val="0"/>
              </a:spcBef>
            </a:pPr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Revert files or the whole project to an earlier state;</a:t>
            </a:r>
          </a:p>
          <a:p>
            <a:pPr lvl="3">
              <a:lnSpc>
                <a:spcPct val="100000"/>
              </a:lnSpc>
              <a:spcBef>
                <a:spcPts val="0"/>
              </a:spcBef>
            </a:pPr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Compare changes over time; </a:t>
            </a:r>
          </a:p>
          <a:p>
            <a:pPr lvl="3">
              <a:lnSpc>
                <a:spcPct val="100000"/>
              </a:lnSpc>
              <a:spcBef>
                <a:spcPts val="0"/>
              </a:spcBef>
            </a:pPr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See who modified what; </a:t>
            </a:r>
          </a:p>
          <a:p>
            <a:pPr lvl="3">
              <a:lnSpc>
                <a:spcPct val="100000"/>
              </a:lnSpc>
              <a:spcBef>
                <a:spcPts val="0"/>
              </a:spcBef>
            </a:pPr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Control modifications by collaborators by permission of admin/owners.</a:t>
            </a:r>
          </a:p>
          <a:p>
            <a:pPr marL="546100" lvl="3" indent="0">
              <a:lnSpc>
                <a:spcPct val="100000"/>
              </a:lnSpc>
              <a:spcBef>
                <a:spcPts val="0"/>
              </a:spcBef>
              <a:buNone/>
            </a:pPr>
            <a:endParaRPr lang="en-US" sz="16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600" b="1" dirty="0">
                <a:latin typeface="Calibri" panose="020F0502020204030204" pitchFamily="34" charset="0"/>
                <a:cs typeface="Calibri" panose="020F0502020204030204" pitchFamily="34" charset="0"/>
              </a:rPr>
              <a:t>GitHub</a:t>
            </a:r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 is a repository hosting service for Git, providing a web-based graphical interface that works on top of Git. It can also be treated as a social platform to share knowledge and work or provide access control and several collaboration features.</a:t>
            </a:r>
          </a:p>
          <a:p>
            <a:endParaRPr lang="en-US" sz="1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CBF63A-08EC-4758-A575-618142811F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40EC01-2D2E-4C25-A991-65C1A3C8AE89}" type="slidenum">
              <a:rPr lang="en-US" smtClean="0"/>
              <a:pPr/>
              <a:t>14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106BC87-1C75-4D0A-9C5C-0D7916B0DE2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3192" t="23806" r="44681" b="43475"/>
          <a:stretch/>
        </p:blipFill>
        <p:spPr>
          <a:xfrm>
            <a:off x="4203910" y="2391866"/>
            <a:ext cx="4776772" cy="27223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792618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3C2C7C-E811-44E6-A6D7-A9056AD534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7188" y="301625"/>
            <a:ext cx="8461375" cy="673735"/>
          </a:xfrm>
        </p:spPr>
        <p:txBody>
          <a:bodyPr/>
          <a:lstStyle/>
          <a:p>
            <a:r>
              <a:rPr lang="en-US" dirty="0"/>
              <a:t>Workflow through </a:t>
            </a:r>
            <a:r>
              <a:rPr lang="en-US" dirty="0" err="1"/>
              <a:t>github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518FBA-0F1F-4FED-954C-AFE8A6575B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40EC01-2D2E-4C25-A991-65C1A3C8AE89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C6137A80-04E1-4C6E-8704-38AA8E00461E}"/>
              </a:ext>
            </a:extLst>
          </p:cNvPr>
          <p:cNvSpPr txBox="1">
            <a:spLocks/>
          </p:cNvSpPr>
          <p:nvPr/>
        </p:nvSpPr>
        <p:spPr>
          <a:xfrm>
            <a:off x="220297" y="1311919"/>
            <a:ext cx="8703406" cy="3530909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+mn-lt"/>
                <a:ea typeface="MS PGothic" pitchFamily="34" charset="-128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Font typeface="Wingdings" pitchFamily="2" charset="2"/>
              <a:defRPr>
                <a:solidFill>
                  <a:schemeClr val="tx1"/>
                </a:solidFill>
                <a:latin typeface="+mn-lt"/>
                <a:ea typeface="MS PGothic" pitchFamily="34" charset="-128"/>
              </a:defRPr>
            </a:lvl2pPr>
            <a:lvl3pPr marL="4763" indent="9096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+mn-lt"/>
                <a:ea typeface="MS PGothic" pitchFamily="34" charset="-128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+mn-lt"/>
                <a:ea typeface="MS PGothic" pitchFamily="34" charset="-128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+mn-lt"/>
                <a:ea typeface="MS PGothic" pitchFamily="34" charset="-128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ts val="450"/>
              </a:spcBef>
              <a:buFont typeface="+mj-lt"/>
              <a:buAutoNum type="arabicPeriod"/>
            </a:pPr>
            <a:r>
              <a:rPr lang="en-US" sz="1800" b="0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reate a "repository" (project)</a:t>
            </a:r>
          </a:p>
          <a:p>
            <a:pPr>
              <a:spcBef>
                <a:spcPts val="450"/>
              </a:spcBef>
              <a:buFont typeface="+mj-lt"/>
              <a:buAutoNum type="arabicPeriod"/>
            </a:pPr>
            <a:r>
              <a:rPr lang="en-US" sz="1800" b="0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opy (or clone) the repository to your local machine</a:t>
            </a:r>
          </a:p>
          <a:p>
            <a:pPr>
              <a:spcBef>
                <a:spcPts val="450"/>
              </a:spcBef>
              <a:buFont typeface="+mj-lt"/>
              <a:buAutoNum type="arabicPeriod"/>
            </a:pPr>
            <a:r>
              <a:rPr lang="en-US" sz="1800" b="0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dd a file to your local repo and "commit" (save) the changes</a:t>
            </a:r>
          </a:p>
          <a:p>
            <a:pPr>
              <a:spcBef>
                <a:spcPts val="450"/>
              </a:spcBef>
              <a:buFont typeface="+mj-lt"/>
              <a:buAutoNum type="arabicPeriod"/>
            </a:pPr>
            <a:r>
              <a:rPr lang="en-US" sz="1800" b="0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reate a "branch" (version), make a change, commit the change</a:t>
            </a:r>
          </a:p>
          <a:p>
            <a:pPr>
              <a:spcBef>
                <a:spcPts val="450"/>
              </a:spcBef>
              <a:buFont typeface="+mj-lt"/>
              <a:buAutoNum type="arabicPeriod"/>
            </a:pPr>
            <a:r>
              <a:rPr lang="en-US" sz="1800" b="0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Open a "pull request" (propose changes to the master branch) (Use Case 1)</a:t>
            </a:r>
          </a:p>
          <a:p>
            <a:pPr>
              <a:spcBef>
                <a:spcPts val="450"/>
              </a:spcBef>
              <a:buFont typeface="+mj-lt"/>
              <a:buAutoNum type="arabicPeriod"/>
            </a:pPr>
            <a:r>
              <a:rPr lang="en-US" sz="1800" b="0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["Merge" your branch to the master branch] (Use Case 2)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22793CF-E166-4FEF-9FA5-C776287D2A6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0320" t="48203" r="29574" b="25130"/>
          <a:stretch/>
        </p:blipFill>
        <p:spPr>
          <a:xfrm>
            <a:off x="369817" y="3948407"/>
            <a:ext cx="3413642" cy="170079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48C6478-9665-4ABD-8BB1-A2248F52ECD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2128" t="50000" r="28617" b="22293"/>
          <a:stretch/>
        </p:blipFill>
        <p:spPr>
          <a:xfrm>
            <a:off x="5063456" y="3941351"/>
            <a:ext cx="3200565" cy="17050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089489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2644FB-864A-6FBD-1B6A-7FBC888E85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8814" y="2821349"/>
            <a:ext cx="7886700" cy="994172"/>
          </a:xfrm>
        </p:spPr>
        <p:txBody>
          <a:bodyPr/>
          <a:lstStyle/>
          <a:p>
            <a:r>
              <a:rPr lang="en-US" dirty="0"/>
              <a:t>Hands-on practic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2CAA51-8334-5513-2B3D-09E9FDA674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143DD0-D33F-F74D-AC0D-D3F4FD973733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314267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BAC64C-78E5-D356-E770-77F724798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r go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B0ACE78-ACA6-0CB2-0656-A1D2F1250F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143DD0-D33F-F74D-AC0D-D3F4FD973733}" type="slidenum">
              <a:rPr lang="en-US" smtClean="0"/>
              <a:pPr/>
              <a:t>17</a:t>
            </a:fld>
            <a:endParaRPr lang="en-US"/>
          </a:p>
        </p:txBody>
      </p:sp>
      <p:pic>
        <p:nvPicPr>
          <p:cNvPr id="10" name="Content Placeholder 9" descr="A graph with lines and numbers&#10;&#10;Description automatically generated">
            <a:extLst>
              <a:ext uri="{FF2B5EF4-FFF2-40B4-BE49-F238E27FC236}">
                <a16:creationId xmlns:a16="http://schemas.microsoft.com/office/drawing/2014/main" id="{BD326A38-A42E-7392-3CEA-9EA8FC8FB0E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942739" y="2226469"/>
            <a:ext cx="5258522" cy="3263504"/>
          </a:xfrm>
        </p:spPr>
      </p:pic>
    </p:spTree>
    <p:extLst>
      <p:ext uri="{BB962C8B-B14F-4D97-AF65-F5344CB8AC3E}">
        <p14:creationId xmlns:p14="http://schemas.microsoft.com/office/powerpoint/2010/main" val="397779035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9F67B6-FC4E-4613-812F-DD33A0A7CC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Setting up </a:t>
            </a:r>
            <a:r>
              <a:rPr lang="en-US" b="1" dirty="0" err="1">
                <a:latin typeface="Calibri" panose="020F0502020204030204" pitchFamily="34" charset="0"/>
                <a:cs typeface="Calibri" panose="020F0502020204030204" pitchFamily="34" charset="0"/>
              </a:rPr>
              <a:t>github</a:t>
            </a:r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 and </a:t>
            </a:r>
            <a:r>
              <a:rPr lang="en-US" b="1" dirty="0" err="1">
                <a:latin typeface="Calibri" panose="020F0502020204030204" pitchFamily="34" charset="0"/>
                <a:cs typeface="Calibri" panose="020F0502020204030204" pitchFamily="34" charset="0"/>
              </a:rPr>
              <a:t>github</a:t>
            </a:r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 desktop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1BA3E3A-D18B-4926-A5F2-26C1A57CDE3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Create your own GitHub account </a:t>
            </a:r>
            <a:r>
              <a:rPr lang="en-US" u="sng" dirty="0">
                <a:latin typeface="Calibri" panose="020F0502020204030204" pitchFamily="34" charset="0"/>
                <a:cs typeface="Calibri" panose="020F0502020204030204" pitchFamily="34" charset="0"/>
                <a:hlinkClick r:id="rId2"/>
              </a:rPr>
              <a:t>here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. </a:t>
            </a:r>
          </a:p>
          <a:p>
            <a:pPr marL="342900" lvl="1" indent="0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You can use your own personal email or work email to sign up. </a:t>
            </a:r>
          </a:p>
          <a:p>
            <a:pPr marL="342900" lvl="1" indent="0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Please use </a:t>
            </a:r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Google Chrome, Firefox, or Safari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as GitHub does not work on Internet Explorer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Download GitHub Desktop </a:t>
            </a:r>
            <a:r>
              <a:rPr lang="en-US" u="sng" dirty="0">
                <a:latin typeface="Calibri" panose="020F0502020204030204" pitchFamily="34" charset="0"/>
                <a:cs typeface="Calibri" panose="020F0502020204030204" pitchFamily="34" charset="0"/>
                <a:hlinkClick r:id="rId3"/>
              </a:rPr>
              <a:t>here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GitHub Desktop is a Graphical User Interface (GUI) that allows you to work efficiently with GitHub repositories and implement various features (e.g., push, pull, branch, merge)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Please note that there are other GUIs available like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  <a:hlinkClick r:id="rId4"/>
              </a:rPr>
              <a:t>GitKraken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US" u="sng" dirty="0">
                <a:latin typeface="Calibri" panose="020F0502020204030204" pitchFamily="34" charset="0"/>
                <a:cs typeface="Calibri" panose="020F0502020204030204" pitchFamily="34" charset="0"/>
                <a:hlinkClick r:id="rId5"/>
              </a:rPr>
              <a:t>SourceTree</a:t>
            </a:r>
            <a:r>
              <a:rPr lang="en-US" u="sng" dirty="0">
                <a:latin typeface="Calibri" panose="020F0502020204030204" pitchFamily="34" charset="0"/>
                <a:cs typeface="Calibri" panose="020F0502020204030204" pitchFamily="34" charset="0"/>
              </a:rPr>
              <a:t>,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among others. Check to see which one best fits your needs.</a:t>
            </a:r>
          </a:p>
          <a:p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6A0F8CD-81E8-44A7-993C-55AEB52CD6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40EC01-2D2E-4C25-A991-65C1A3C8AE89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40611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413C1A-F381-CCD3-5DA3-06F2B96FA7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day’s Agenda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ECA61BC-D488-EEF6-E149-AA1A8B7E61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2AC2F8D-C487-6510-9F9B-A23F01D12C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C0524-9AED-456C-BADC-F0F6F26BD804}" type="slidenum">
              <a:rPr lang="en-US" altLang="en-US" smtClean="0"/>
              <a:pPr/>
              <a:t>1</a:t>
            </a:fld>
            <a:endParaRPr lang="en-US" alt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8DB38BF-0556-E3A2-26AB-444FB4D7BB42}"/>
              </a:ext>
            </a:extLst>
          </p:cNvPr>
          <p:cNvSpPr txBox="1"/>
          <p:nvPr/>
        </p:nvSpPr>
        <p:spPr>
          <a:xfrm>
            <a:off x="521208" y="1627632"/>
            <a:ext cx="8156261" cy="11030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endParaRPr lang="en-US" sz="2400" b="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E02C51C-883C-FE24-464D-3ADFF3E76EEA}"/>
              </a:ext>
            </a:extLst>
          </p:cNvPr>
          <p:cNvSpPr txBox="1"/>
          <p:nvPr/>
        </p:nvSpPr>
        <p:spPr>
          <a:xfrm>
            <a:off x="521208" y="1627632"/>
            <a:ext cx="8156261" cy="19149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2400" b="0" kern="100" dirty="0">
                <a:latin typeface="Calibri" panose="020F0502020204030204" pitchFamily="34" charset="0"/>
              </a:rPr>
              <a:t>Introduction to Google Earth Engine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endParaRPr lang="en-US" sz="2400" b="0" kern="100" dirty="0">
              <a:latin typeface="Calibri" panose="020F0502020204030204" pitchFamily="34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2400" b="0" kern="100" dirty="0">
                <a:latin typeface="Calibri" panose="020F0502020204030204" pitchFamily="34" charset="0"/>
              </a:rPr>
              <a:t>Introduction to GitHub</a:t>
            </a:r>
            <a:endParaRPr lang="en-US" sz="2000" b="0" dirty="0"/>
          </a:p>
          <a:p>
            <a:pPr marL="800100" lvl="1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endParaRPr lang="en-US" sz="2000" b="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0" dirty="0"/>
          </a:p>
        </p:txBody>
      </p:sp>
    </p:spTree>
    <p:extLst>
      <p:ext uri="{BB962C8B-B14F-4D97-AF65-F5344CB8AC3E}">
        <p14:creationId xmlns:p14="http://schemas.microsoft.com/office/powerpoint/2010/main" val="396597433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D8879A-59CC-4A68-A87F-2A10ACE318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Create a repository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476A64CA-57C8-4626-AB64-DDE4427AF8D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t="3288" r="68165" b="47773"/>
          <a:stretch/>
        </p:blipFill>
        <p:spPr>
          <a:xfrm>
            <a:off x="4764641" y="1977792"/>
            <a:ext cx="3896474" cy="3369305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6F2F05F-5B8A-43D8-A800-63A5BF1CCE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40EC01-2D2E-4C25-A991-65C1A3C8AE89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9A49F91-8BB0-4082-8846-312B857403A1}"/>
              </a:ext>
            </a:extLst>
          </p:cNvPr>
          <p:cNvSpPr txBox="1">
            <a:spLocks/>
          </p:cNvSpPr>
          <p:nvPr/>
        </p:nvSpPr>
        <p:spPr bwMode="auto">
          <a:xfrm>
            <a:off x="149352" y="1977792"/>
            <a:ext cx="3506057" cy="308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Font typeface="Wingdings" pitchFamily="2" charset="2"/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2pPr>
            <a:lvl3pPr marL="4763" indent="9096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b="0" kern="0" dirty="0">
                <a:latin typeface="Calibri" panose="020F0502020204030204" pitchFamily="34" charset="0"/>
                <a:cs typeface="Calibri" panose="020F0502020204030204" pitchFamily="34" charset="0"/>
              </a:rPr>
              <a:t>Go to your GitHub page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b="0" kern="0" dirty="0">
                <a:latin typeface="Calibri" panose="020F0502020204030204" pitchFamily="34" charset="0"/>
                <a:cs typeface="Calibri" panose="020F0502020204030204" pitchFamily="34" charset="0"/>
              </a:rPr>
              <a:t>Create a new repository by clicking on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b="0" kern="0" dirty="0">
                <a:latin typeface="Calibri" panose="020F0502020204030204" pitchFamily="34" charset="0"/>
                <a:cs typeface="Calibri" panose="020F0502020204030204" pitchFamily="34" charset="0"/>
              </a:rPr>
              <a:t>Set a repository name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b="0" kern="0" dirty="0">
                <a:latin typeface="Calibri" panose="020F0502020204030204" pitchFamily="34" charset="0"/>
                <a:cs typeface="Calibri" panose="020F0502020204030204" pitchFamily="34" charset="0"/>
              </a:rPr>
              <a:t>You have the option of making the repository public or private</a:t>
            </a:r>
          </a:p>
          <a:p>
            <a:pPr marL="514350" lvl="1">
              <a:buFont typeface="Arial" panose="020B0604020202020204" pitchFamily="34" charset="0"/>
              <a:buChar char="•"/>
            </a:pPr>
            <a:r>
              <a:rPr lang="en-US" b="0" kern="0" dirty="0">
                <a:latin typeface="Calibri" panose="020F0502020204030204" pitchFamily="34" charset="0"/>
                <a:cs typeface="Calibri" panose="020F0502020204030204" pitchFamily="34" charset="0"/>
              </a:rPr>
              <a:t>If set private, no one except for your collaborators can see what’s in the repository. But then, there is a limit on the number of collaborators (up to 3) you can have for private repositories. </a:t>
            </a:r>
          </a:p>
          <a:p>
            <a:pPr marL="514350" lvl="1">
              <a:buFont typeface="Arial" panose="020B0604020202020204" pitchFamily="34" charset="0"/>
              <a:buChar char="•"/>
            </a:pPr>
            <a:r>
              <a:rPr lang="en-US" b="0" kern="0" dirty="0">
                <a:latin typeface="Calibri" panose="020F0502020204030204" pitchFamily="34" charset="0"/>
                <a:cs typeface="Calibri" panose="020F0502020204030204" pitchFamily="34" charset="0"/>
              </a:rPr>
              <a:t>If set public, all the items in the repository will be made public. There is no limit on the number of collaborators for public repositories.  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742573E1-9DCE-4AA8-A0A2-65042580FCD9}"/>
              </a:ext>
            </a:extLst>
          </p:cNvPr>
          <p:cNvSpPr/>
          <p:nvPr/>
        </p:nvSpPr>
        <p:spPr bwMode="auto">
          <a:xfrm>
            <a:off x="6280079" y="2976644"/>
            <a:ext cx="685800" cy="685800"/>
          </a:xfrm>
          <a:prstGeom prst="ellips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86916" indent="-86916" defTabSz="685800">
              <a:spcBef>
                <a:spcPct val="50000"/>
              </a:spcBef>
              <a:buFontTx/>
              <a:buChar char="•"/>
            </a:pPr>
            <a:endParaRPr lang="en-US" sz="975" b="0">
              <a:cs typeface="Times New Roman" pitchFamily="18" charset="0"/>
            </a:endParaRPr>
          </a:p>
        </p:txBody>
      </p:sp>
      <p:pic>
        <p:nvPicPr>
          <p:cNvPr id="12" name="Content Placeholder 4">
            <a:extLst>
              <a:ext uri="{FF2B5EF4-FFF2-40B4-BE49-F238E27FC236}">
                <a16:creationId xmlns:a16="http://schemas.microsoft.com/office/drawing/2014/main" id="{7FB6D2D2-EFAC-437B-9572-DADEDE1475B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3651" t="20944" r="82949" b="75922"/>
          <a:stretch/>
        </p:blipFill>
        <p:spPr bwMode="auto">
          <a:xfrm>
            <a:off x="3585870" y="2333279"/>
            <a:ext cx="416103" cy="2157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5507250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7E133F9F-4DE3-55A1-33D1-2AD868B1BED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68190" y="3427071"/>
            <a:ext cx="6339618" cy="339408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7B51765-FB66-4391-A803-9E3F3A3785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7188" y="301625"/>
            <a:ext cx="8461375" cy="706110"/>
          </a:xfrm>
        </p:spPr>
        <p:txBody>
          <a:bodyPr>
            <a:normAutofit/>
          </a:bodyPr>
          <a:lstStyle/>
          <a:p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Copy (or clone) the repository to your local machin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0917D2-F8FF-4253-964B-D01D4D444A8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Open GitHub Desktop on your laptop and sign in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Copy (or clone) the 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  <a:hlinkClick r:id="rId3"/>
              </a:rPr>
              <a:t>repository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to your local machine by clicking on “Code”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Select “Open with GitHub Desktop”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FB72F37-0396-42D9-A85D-F386689110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40EC01-2D2E-4C25-A991-65C1A3C8AE89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BD3DFA99-7489-4564-ABFE-8E150486BC23}"/>
              </a:ext>
            </a:extLst>
          </p:cNvPr>
          <p:cNvSpPr/>
          <p:nvPr/>
        </p:nvSpPr>
        <p:spPr bwMode="auto">
          <a:xfrm>
            <a:off x="4981768" y="3897217"/>
            <a:ext cx="839912" cy="685800"/>
          </a:xfrm>
          <a:prstGeom prst="ellips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86916" indent="-86916" defTabSz="685800">
              <a:spcBef>
                <a:spcPct val="50000"/>
              </a:spcBef>
              <a:buFontTx/>
              <a:buChar char="•"/>
            </a:pPr>
            <a:endParaRPr lang="en-US" sz="975" b="0" dirty="0">
              <a:cs typeface="Times New Roman" pitchFamily="18" charset="0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22DA5867-BAE2-7EF1-BAF6-4472911D0990}"/>
              </a:ext>
            </a:extLst>
          </p:cNvPr>
          <p:cNvSpPr/>
          <p:nvPr/>
        </p:nvSpPr>
        <p:spPr bwMode="auto">
          <a:xfrm>
            <a:off x="3756694" y="5413248"/>
            <a:ext cx="1559018" cy="231648"/>
          </a:xfrm>
          <a:prstGeom prst="ellips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86916" indent="-86916" defTabSz="685800">
              <a:spcBef>
                <a:spcPct val="50000"/>
              </a:spcBef>
              <a:buFontTx/>
              <a:buChar char="•"/>
            </a:pPr>
            <a:endParaRPr lang="en-US" sz="975" b="0" dirty="0"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018692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0917D2-F8FF-4253-964B-D01D4D444A8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2581" y="1170432"/>
            <a:ext cx="8478837" cy="3331083"/>
          </a:xfrm>
        </p:spPr>
        <p:txBody>
          <a:bodyPr/>
          <a:lstStyle/>
          <a:p>
            <a:pPr marL="0" indent="0">
              <a:buNone/>
            </a:pP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GitHub Desktop then asks you to set a local path where a copy of the repository will be saved on your local computer</a:t>
            </a:r>
          </a:p>
          <a:p>
            <a:pPr lvl="3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By default, a cloned repository will be saved in C:\Users\</a:t>
            </a:r>
            <a:r>
              <a:rPr lang="en-US" dirty="0">
                <a:highlight>
                  <a:srgbClr val="FFFF0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XXX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\Documents\GitHub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FB72F37-0396-42D9-A85D-F386689110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40EC01-2D2E-4C25-A991-65C1A3C8AE89}" type="slidenum">
              <a:rPr lang="en-US" smtClean="0"/>
              <a:pPr/>
              <a:t>21</a:t>
            </a:fld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73FAB9F-1C70-8A99-063E-3ACF028A61F6}"/>
              </a:ext>
            </a:extLst>
          </p:cNvPr>
          <p:cNvSpPr txBox="1">
            <a:spLocks/>
          </p:cNvSpPr>
          <p:nvPr/>
        </p:nvSpPr>
        <p:spPr bwMode="auto">
          <a:xfrm>
            <a:off x="357188" y="301625"/>
            <a:ext cx="8461375" cy="706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rm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200">
                <a:solidFill>
                  <a:schemeClr val="tx1"/>
                </a:solidFill>
                <a:latin typeface="+mn-lt"/>
                <a:ea typeface="MS PGothic" pitchFamily="34" charset="-128"/>
                <a:cs typeface="Andes ExtraLight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200">
                <a:solidFill>
                  <a:schemeClr val="tx1"/>
                </a:solidFill>
                <a:latin typeface="Arial" charset="0"/>
                <a:ea typeface="MS PGothic" pitchFamily="34" charset="-128"/>
                <a:cs typeface="Andes ExtraLight" pitchFamily="50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200">
                <a:solidFill>
                  <a:schemeClr val="tx1"/>
                </a:solidFill>
                <a:latin typeface="Arial" charset="0"/>
                <a:ea typeface="MS PGothic" pitchFamily="34" charset="-128"/>
                <a:cs typeface="Andes ExtraLight" pitchFamily="50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200">
                <a:solidFill>
                  <a:schemeClr val="tx1"/>
                </a:solidFill>
                <a:latin typeface="Arial" charset="0"/>
                <a:ea typeface="MS PGothic" pitchFamily="34" charset="-128"/>
                <a:cs typeface="Andes ExtraLight" pitchFamily="50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200">
                <a:solidFill>
                  <a:schemeClr val="tx1"/>
                </a:solidFill>
                <a:latin typeface="Arial" charset="0"/>
                <a:ea typeface="MS PGothic" pitchFamily="34" charset="-128"/>
                <a:cs typeface="Andes ExtraLight" pitchFamily="50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9pPr>
          </a:lstStyle>
          <a:p>
            <a:r>
              <a:rPr lang="en-US" b="1" kern="0">
                <a:latin typeface="Calibri" panose="020F0502020204030204" pitchFamily="34" charset="0"/>
                <a:cs typeface="Calibri" panose="020F0502020204030204" pitchFamily="34" charset="0"/>
              </a:rPr>
              <a:t>Copy (or clone) the repository to your local machine</a:t>
            </a:r>
            <a:endParaRPr lang="en-US" b="1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4FE552B-573B-F4FA-07ED-77B96E39151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99488" y="3164251"/>
            <a:ext cx="5815584" cy="3557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103234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B3F992-D35A-4BFF-B83D-0ACA8A9493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7188" y="301625"/>
            <a:ext cx="8461375" cy="978535"/>
          </a:xfrm>
        </p:spPr>
        <p:txBody>
          <a:bodyPr>
            <a:normAutofit/>
          </a:bodyPr>
          <a:lstStyle/>
          <a:p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Add a file to your local repo and "commit" (save) the chang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CA0DFB0-461C-490E-AB81-29BBA9C832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7566" y="1580813"/>
            <a:ext cx="4057442" cy="4975561"/>
          </a:xfrm>
        </p:spPr>
        <p:txBody>
          <a:bodyPr>
            <a:no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Add a file to your local repo and "commit" (save) the change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For instance, we write a script in a DO file and save 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it in C:/Users/xxx/Documents/GitHub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/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tanzania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_spatial_training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_2014/code/</a:t>
            </a:r>
            <a:endParaRPr 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Now you see all changes you made in your local repository in GitHub Desktop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Now “Commit to master” to keep record of changes you mad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Note that the changes you made so far are only available on your local computer, not on GitHub</a:t>
            </a:r>
          </a:p>
          <a:p>
            <a:pPr lvl="3"/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This means that your collaborators still don’t see these changes</a:t>
            </a:r>
          </a:p>
          <a:p>
            <a:pPr marL="0" indent="0"/>
            <a:endParaRPr 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69FDD8D-2197-4ED1-9D8C-28CE90421B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40EC01-2D2E-4C25-A991-65C1A3C8AE89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039673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B3F992-D35A-4BFF-B83D-0ACA8A9493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latin typeface="Garamond" panose="02020404030301010803" pitchFamily="18" charset="0"/>
              </a:rPr>
              <a:t>Add a file to your local repo and "commit" (save) the change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CA0DFB0-461C-490E-AB81-29BBA9C832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0273" y="2328328"/>
            <a:ext cx="3513762" cy="3086100"/>
          </a:xfrm>
        </p:spPr>
        <p:txBody>
          <a:bodyPr>
            <a:normAutofit fontScale="40000" lnSpcReduction="20000"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latin typeface="Garamond" panose="02020404030301010803" pitchFamily="18" charset="0"/>
              </a:rPr>
              <a:t>Add a file to your local repo and "commit" (save) the change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latin typeface="Garamond" panose="02020404030301010803" pitchFamily="18" charset="0"/>
              </a:rPr>
              <a:t>For instance, we write a script in a DO file and save it (let’s call it test.do) in C:\Users\wb[UPI]\Documents\GitHub\test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latin typeface="Garamond" panose="02020404030301010803" pitchFamily="18" charset="0"/>
              </a:rPr>
              <a:t>Now you see all changes you made in your local repository in GitHub Desktop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latin typeface="Garamond" panose="02020404030301010803" pitchFamily="18" charset="0"/>
              </a:rPr>
              <a:t>Now “Commit to master” to keep record of changes you mad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latin typeface="Garamond" panose="02020404030301010803" pitchFamily="18" charset="0"/>
              </a:rPr>
              <a:t>Note that the changes you made so far are only available on your local computer, not on GitHub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>
                <a:latin typeface="Garamond" panose="02020404030301010803" pitchFamily="18" charset="0"/>
              </a:rPr>
              <a:t>This means that your collaborators still don’t see these change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latin typeface="Garamond" panose="02020404030301010803" pitchFamily="18" charset="0"/>
              </a:rPr>
              <a:t>Push these changes by clicking on 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>
                <a:latin typeface="Garamond" panose="02020404030301010803" pitchFamily="18" charset="0"/>
              </a:rPr>
              <a:t>Now these changes are reflected in GitHub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>
                <a:latin typeface="Garamond" panose="02020404030301010803" pitchFamily="18" charset="0"/>
              </a:rPr>
              <a:t>Collaborators can also see these changes</a:t>
            </a:r>
          </a:p>
          <a:p>
            <a:pPr marL="0" indent="0"/>
            <a:endParaRPr lang="en-US" dirty="0"/>
          </a:p>
          <a:p>
            <a:pPr>
              <a:buFont typeface="Arial" panose="020B0604020202020204" pitchFamily="34" charset="0"/>
              <a:buChar char="•"/>
            </a:pPr>
            <a:endParaRPr lang="en-US" dirty="0">
              <a:latin typeface="Garamond" panose="02020404030301010803" pitchFamily="18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en-US" dirty="0">
              <a:latin typeface="Garamond" panose="02020404030301010803" pitchFamily="18" charset="0"/>
            </a:endParaRP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69FDD8D-2197-4ED1-9D8C-28CE90421B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40EC01-2D2E-4C25-A991-65C1A3C8AE89}" type="slidenum">
              <a:rPr lang="en-US" smtClean="0"/>
              <a:pPr/>
              <a:t>23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E295A08-AF2A-48AF-8449-7FFA66223C6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4776" t="17228" r="24831" b="17453"/>
          <a:stretch/>
        </p:blipFill>
        <p:spPr>
          <a:xfrm>
            <a:off x="4276618" y="2206375"/>
            <a:ext cx="4607960" cy="3359650"/>
          </a:xfrm>
          <a:prstGeom prst="rect">
            <a:avLst/>
          </a:prstGeom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85BF1187-C9A3-4DBD-890C-718F8C79D185}"/>
              </a:ext>
            </a:extLst>
          </p:cNvPr>
          <p:cNvSpPr/>
          <p:nvPr/>
        </p:nvSpPr>
        <p:spPr bwMode="auto">
          <a:xfrm>
            <a:off x="7905964" y="3361925"/>
            <a:ext cx="839912" cy="685800"/>
          </a:xfrm>
          <a:prstGeom prst="ellips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86916" indent="-86916" defTabSz="685800">
              <a:spcBef>
                <a:spcPct val="50000"/>
              </a:spcBef>
              <a:buFontTx/>
              <a:buChar char="•"/>
            </a:pPr>
            <a:endParaRPr lang="en-US" sz="975" b="0" dirty="0">
              <a:cs typeface="Times New Roman" pitchFamily="18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F0A1CD6-5B98-4BE1-BF04-647C8B880F5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6827" t="45543" r="28790" b="51910"/>
          <a:stretch/>
        </p:blipFill>
        <p:spPr>
          <a:xfrm>
            <a:off x="2988239" y="4809659"/>
            <a:ext cx="648507" cy="2120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851908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59FB22-A36B-4DEE-A5E2-1B74FA8DE1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latin typeface="Garamond" panose="02020404030301010803" pitchFamily="18" charset="0"/>
              </a:rPr>
              <a:t>Create a "branch" (version), make a change, commit the change</a:t>
            </a:r>
            <a:endParaRPr lang="en-US" dirty="0"/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84DA86B7-D137-41EF-8753-C35789A8583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25235" t="17270" r="24766" b="20807"/>
          <a:stretch/>
        </p:blipFill>
        <p:spPr>
          <a:xfrm>
            <a:off x="4476136" y="2198027"/>
            <a:ext cx="4601497" cy="3205538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99355B1-9935-4AC4-BEEC-7193FD9708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40EC01-2D2E-4C25-A991-65C1A3C8AE89}" type="slidenum">
              <a:rPr lang="en-US" smtClean="0"/>
              <a:pPr/>
              <a:t>24</a:t>
            </a:fld>
            <a:endParaRPr lang="en-US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6AD2EC21-5DE8-4D46-8632-9481CF3C5A5D}"/>
              </a:ext>
            </a:extLst>
          </p:cNvPr>
          <p:cNvSpPr txBox="1">
            <a:spLocks/>
          </p:cNvSpPr>
          <p:nvPr/>
        </p:nvSpPr>
        <p:spPr bwMode="auto">
          <a:xfrm>
            <a:off x="685800" y="1996398"/>
            <a:ext cx="3513762" cy="308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Font typeface="Wingdings" pitchFamily="2" charset="2"/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2pPr>
            <a:lvl3pPr marL="4763" indent="9096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/>
            <a:endParaRPr lang="en-US" sz="1200" kern="0" dirty="0"/>
          </a:p>
          <a:p>
            <a:pPr>
              <a:buFont typeface="Arial" panose="020B0604020202020204" pitchFamily="34" charset="0"/>
              <a:buChar char="•"/>
            </a:pPr>
            <a:endParaRPr lang="en-US" sz="1200" kern="0" dirty="0">
              <a:latin typeface="Garamond" panose="02020404030301010803" pitchFamily="18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en-US" sz="1200" kern="0" dirty="0">
              <a:latin typeface="Garamond" panose="02020404030301010803" pitchFamily="18" charset="0"/>
            </a:endParaRPr>
          </a:p>
          <a:p>
            <a:endParaRPr lang="en-US" sz="1200" kern="0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04B4FFF-1468-40CB-AF23-55EEFD734EEA}"/>
              </a:ext>
            </a:extLst>
          </p:cNvPr>
          <p:cNvSpPr txBox="1">
            <a:spLocks/>
          </p:cNvSpPr>
          <p:nvPr/>
        </p:nvSpPr>
        <p:spPr bwMode="auto">
          <a:xfrm>
            <a:off x="523009" y="2477844"/>
            <a:ext cx="3513762" cy="308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Font typeface="Wingdings" pitchFamily="2" charset="2"/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2pPr>
            <a:lvl3pPr marL="4763" indent="9096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1200" dirty="0">
                <a:latin typeface="Garamond" panose="02020404030301010803" pitchFamily="18" charset="0"/>
              </a:rPr>
              <a:t>You want to keep master branch clean meaning that you don’t want to push changes directly to the master branch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1200" dirty="0">
                <a:latin typeface="Garamond" panose="02020404030301010803" pitchFamily="18" charset="0"/>
              </a:rPr>
              <a:t>Instead, generate a branch for any specific task or development work that you work on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1200" dirty="0">
                <a:latin typeface="Garamond" panose="02020404030301010803" pitchFamily="18" charset="0"/>
              </a:rPr>
              <a:t>To create a branch, select “Branch” and “New branch”</a:t>
            </a:r>
          </a:p>
          <a:p>
            <a:pPr marL="514350" lvl="1">
              <a:buFont typeface="Arial" panose="020B0604020202020204" pitchFamily="34" charset="0"/>
              <a:buChar char="•"/>
            </a:pPr>
            <a:r>
              <a:rPr lang="en-US" sz="1200" dirty="0">
                <a:latin typeface="Garamond" panose="02020404030301010803" pitchFamily="18" charset="0"/>
              </a:rPr>
              <a:t>See this </a:t>
            </a:r>
            <a:r>
              <a:rPr lang="en-US" sz="1200" dirty="0">
                <a:latin typeface="Garamond" panose="02020404030301010803" pitchFamily="18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rticle</a:t>
            </a:r>
            <a:r>
              <a:rPr lang="en-US" sz="1200" dirty="0">
                <a:latin typeface="Garamond" panose="02020404030301010803" pitchFamily="18" charset="0"/>
              </a:rPr>
              <a:t> on branch name conventions</a:t>
            </a:r>
          </a:p>
          <a:p>
            <a:pPr marL="514350" lvl="1">
              <a:buFont typeface="Arial" panose="020B0604020202020204" pitchFamily="34" charset="0"/>
              <a:buChar char="•"/>
            </a:pPr>
            <a:r>
              <a:rPr lang="en-US" sz="1200" dirty="0">
                <a:latin typeface="Garamond" panose="02020404030301010803" pitchFamily="18" charset="0"/>
              </a:rPr>
              <a:t>For now, we create a new branch called </a:t>
            </a:r>
            <a:r>
              <a:rPr lang="en-US" sz="1200" dirty="0" err="1">
                <a:latin typeface="Garamond" panose="02020404030301010803" pitchFamily="18" charset="0"/>
              </a:rPr>
              <a:t>test_branch</a:t>
            </a:r>
            <a:endParaRPr lang="en-US" sz="1200" dirty="0">
              <a:latin typeface="Garamond" panose="02020404030301010803" pitchFamily="18" charset="0"/>
            </a:endParaRPr>
          </a:p>
          <a:p>
            <a:pPr marL="214313" indent="-214313">
              <a:buFont typeface="Arial" panose="020B0604020202020204" pitchFamily="34" charset="0"/>
              <a:buChar char="•"/>
            </a:pPr>
            <a:endParaRPr lang="en-US" sz="1200" kern="0" dirty="0"/>
          </a:p>
          <a:p>
            <a:pPr>
              <a:buFont typeface="Arial" panose="020B0604020202020204" pitchFamily="34" charset="0"/>
              <a:buChar char="•"/>
            </a:pPr>
            <a:endParaRPr lang="en-US" sz="1200" kern="0" dirty="0">
              <a:latin typeface="Garamond" panose="02020404030301010803" pitchFamily="18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en-US" sz="1200" kern="0" dirty="0">
              <a:latin typeface="Garamond" panose="02020404030301010803" pitchFamily="18" charset="0"/>
            </a:endParaRPr>
          </a:p>
          <a:p>
            <a:endParaRPr lang="en-US" sz="1200" kern="0" dirty="0"/>
          </a:p>
        </p:txBody>
      </p:sp>
    </p:spTree>
    <p:extLst>
      <p:ext uri="{BB962C8B-B14F-4D97-AF65-F5344CB8AC3E}">
        <p14:creationId xmlns:p14="http://schemas.microsoft.com/office/powerpoint/2010/main" val="45910871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59FB22-A36B-4DEE-A5E2-1B74FA8DE1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latin typeface="Garamond" panose="02020404030301010803" pitchFamily="18" charset="0"/>
              </a:rPr>
              <a:t>Create a "branch" (version), make a change, commit the chang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99355B1-9935-4AC4-BEEC-7193FD9708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40EC01-2D2E-4C25-A991-65C1A3C8AE89}" type="slidenum">
              <a:rPr lang="en-US" smtClean="0"/>
              <a:pPr/>
              <a:t>25</a:t>
            </a:fld>
            <a:endParaRPr lang="en-US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6AD2EC21-5DE8-4D46-8632-9481CF3C5A5D}"/>
              </a:ext>
            </a:extLst>
          </p:cNvPr>
          <p:cNvSpPr txBox="1">
            <a:spLocks/>
          </p:cNvSpPr>
          <p:nvPr/>
        </p:nvSpPr>
        <p:spPr bwMode="auto">
          <a:xfrm>
            <a:off x="685800" y="1996398"/>
            <a:ext cx="3513762" cy="308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Font typeface="Wingdings" pitchFamily="2" charset="2"/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2pPr>
            <a:lvl3pPr marL="4763" indent="9096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/>
            <a:endParaRPr lang="en-US" sz="1200" kern="0" dirty="0"/>
          </a:p>
          <a:p>
            <a:pPr>
              <a:buFont typeface="Arial" panose="020B0604020202020204" pitchFamily="34" charset="0"/>
              <a:buChar char="•"/>
            </a:pPr>
            <a:endParaRPr lang="en-US" sz="1200" kern="0" dirty="0">
              <a:latin typeface="Garamond" panose="02020404030301010803" pitchFamily="18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en-US" sz="1200" kern="0" dirty="0">
              <a:latin typeface="Garamond" panose="02020404030301010803" pitchFamily="18" charset="0"/>
            </a:endParaRPr>
          </a:p>
          <a:p>
            <a:endParaRPr lang="en-US" sz="1200" kern="0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04B4FFF-1468-40CB-AF23-55EEFD734EEA}"/>
              </a:ext>
            </a:extLst>
          </p:cNvPr>
          <p:cNvSpPr txBox="1">
            <a:spLocks/>
          </p:cNvSpPr>
          <p:nvPr/>
        </p:nvSpPr>
        <p:spPr bwMode="auto">
          <a:xfrm>
            <a:off x="800100" y="2110698"/>
            <a:ext cx="3513762" cy="308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Font typeface="Wingdings" pitchFamily="2" charset="2"/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2pPr>
            <a:lvl3pPr marL="4763" indent="9096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1200" dirty="0">
                <a:latin typeface="Garamond" panose="02020404030301010803" pitchFamily="18" charset="0"/>
              </a:rPr>
              <a:t>You want to keep master branch clean meaning that you don’t want to push changes directly to the master branch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1200" dirty="0">
                <a:latin typeface="Garamond" panose="02020404030301010803" pitchFamily="18" charset="0"/>
              </a:rPr>
              <a:t>Instead, generate a branch for any specific task or development work that you work on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1200" dirty="0">
                <a:latin typeface="Garamond" panose="02020404030301010803" pitchFamily="18" charset="0"/>
              </a:rPr>
              <a:t>To create a branch, select “Branch” and “New branch”</a:t>
            </a:r>
          </a:p>
          <a:p>
            <a:pPr marL="514350" lvl="1">
              <a:buFont typeface="Arial" panose="020B0604020202020204" pitchFamily="34" charset="0"/>
              <a:buChar char="•"/>
            </a:pPr>
            <a:r>
              <a:rPr lang="en-US" sz="1200" dirty="0">
                <a:latin typeface="Garamond" panose="02020404030301010803" pitchFamily="18" charset="0"/>
              </a:rPr>
              <a:t>See this </a:t>
            </a:r>
            <a:r>
              <a:rPr lang="en-US" sz="1200" dirty="0">
                <a:latin typeface="Garamond" panose="02020404030301010803" pitchFamily="18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rticle</a:t>
            </a:r>
            <a:r>
              <a:rPr lang="en-US" sz="1200" dirty="0">
                <a:latin typeface="Garamond" panose="02020404030301010803" pitchFamily="18" charset="0"/>
              </a:rPr>
              <a:t> on branch name conventions</a:t>
            </a:r>
          </a:p>
          <a:p>
            <a:pPr marL="514350" lvl="1">
              <a:buFont typeface="Arial" panose="020B0604020202020204" pitchFamily="34" charset="0"/>
              <a:buChar char="•"/>
            </a:pPr>
            <a:r>
              <a:rPr lang="en-US" sz="1200" dirty="0">
                <a:latin typeface="Garamond" panose="02020404030301010803" pitchFamily="18" charset="0"/>
              </a:rPr>
              <a:t>For now we create a new branch called </a:t>
            </a:r>
            <a:r>
              <a:rPr lang="en-US" sz="1200" dirty="0" err="1">
                <a:latin typeface="Garamond" panose="02020404030301010803" pitchFamily="18" charset="0"/>
              </a:rPr>
              <a:t>test_branch</a:t>
            </a:r>
            <a:endParaRPr lang="en-US" sz="1200" dirty="0">
              <a:latin typeface="Garamond" panose="02020404030301010803" pitchFamily="18" charset="0"/>
            </a:endParaRP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1200" dirty="0">
                <a:latin typeface="Garamond" panose="02020404030301010803" pitchFamily="18" charset="0"/>
              </a:rPr>
              <a:t>Notice that your current branch is now </a:t>
            </a:r>
            <a:r>
              <a:rPr lang="en-US" sz="1200" dirty="0" err="1">
                <a:latin typeface="Garamond" panose="02020404030301010803" pitchFamily="18" charset="0"/>
              </a:rPr>
              <a:t>test_branch</a:t>
            </a:r>
            <a:endParaRPr lang="en-US" sz="1200" dirty="0">
              <a:latin typeface="Garamond" panose="02020404030301010803" pitchFamily="18" charset="0"/>
            </a:endParaRPr>
          </a:p>
          <a:p>
            <a:pPr marL="514350" lvl="1">
              <a:buFont typeface="Arial" panose="020B0604020202020204" pitchFamily="34" charset="0"/>
              <a:buChar char="•"/>
            </a:pPr>
            <a:endParaRPr lang="en-US" sz="1200" kern="0" dirty="0"/>
          </a:p>
          <a:p>
            <a:pPr marL="214313" indent="-214313">
              <a:buFont typeface="Arial" panose="020B0604020202020204" pitchFamily="34" charset="0"/>
              <a:buChar char="•"/>
            </a:pPr>
            <a:endParaRPr lang="en-US" sz="1200" kern="0" dirty="0"/>
          </a:p>
          <a:p>
            <a:pPr>
              <a:buFont typeface="Arial" panose="020B0604020202020204" pitchFamily="34" charset="0"/>
              <a:buChar char="•"/>
            </a:pPr>
            <a:endParaRPr lang="en-US" sz="1200" kern="0" dirty="0">
              <a:latin typeface="Garamond" panose="02020404030301010803" pitchFamily="18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en-US" sz="1200" kern="0" dirty="0">
              <a:latin typeface="Garamond" panose="02020404030301010803" pitchFamily="18" charset="0"/>
            </a:endParaRPr>
          </a:p>
          <a:p>
            <a:endParaRPr lang="en-US" sz="1200" kern="0" dirty="0"/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E092BD53-5173-4EB3-824E-A9D4F7C518F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3"/>
          <a:srcRect l="24953" t="17270" r="24626" b="51519"/>
          <a:stretch/>
        </p:blipFill>
        <p:spPr>
          <a:xfrm>
            <a:off x="4572000" y="2110698"/>
            <a:ext cx="4012999" cy="1397285"/>
          </a:xfrm>
          <a:prstGeom prst="rect">
            <a:avLst/>
          </a:prstGeom>
        </p:spPr>
      </p:pic>
      <p:sp>
        <p:nvSpPr>
          <p:cNvPr id="9" name="Oval 8">
            <a:extLst>
              <a:ext uri="{FF2B5EF4-FFF2-40B4-BE49-F238E27FC236}">
                <a16:creationId xmlns:a16="http://schemas.microsoft.com/office/drawing/2014/main" id="{A3E5B5FD-14D4-4FAA-831B-93584D25531F}"/>
              </a:ext>
            </a:extLst>
          </p:cNvPr>
          <p:cNvSpPr/>
          <p:nvPr/>
        </p:nvSpPr>
        <p:spPr bwMode="auto">
          <a:xfrm>
            <a:off x="5501811" y="1996398"/>
            <a:ext cx="1171254" cy="685800"/>
          </a:xfrm>
          <a:prstGeom prst="ellips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86916" indent="-86916" defTabSz="685800">
              <a:spcBef>
                <a:spcPct val="50000"/>
              </a:spcBef>
              <a:buFontTx/>
              <a:buChar char="•"/>
            </a:pPr>
            <a:endParaRPr lang="en-US" sz="975" b="0" dirty="0"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742958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59FB22-A36B-4DEE-A5E2-1B74FA8DE1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latin typeface="Garamond" panose="02020404030301010803" pitchFamily="18" charset="0"/>
              </a:rPr>
              <a:t>Create a "branch" (version), make a change, commit the chang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99355B1-9935-4AC4-BEEC-7193FD9708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40EC01-2D2E-4C25-A991-65C1A3C8AE89}" type="slidenum">
              <a:rPr lang="en-US" smtClean="0"/>
              <a:pPr/>
              <a:t>26</a:t>
            </a:fld>
            <a:endParaRPr lang="en-US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6AD2EC21-5DE8-4D46-8632-9481CF3C5A5D}"/>
              </a:ext>
            </a:extLst>
          </p:cNvPr>
          <p:cNvSpPr txBox="1">
            <a:spLocks/>
          </p:cNvSpPr>
          <p:nvPr/>
        </p:nvSpPr>
        <p:spPr bwMode="auto">
          <a:xfrm>
            <a:off x="685800" y="1996398"/>
            <a:ext cx="3513762" cy="308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Font typeface="Wingdings" pitchFamily="2" charset="2"/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2pPr>
            <a:lvl3pPr marL="4763" indent="9096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/>
            <a:endParaRPr lang="en-US" sz="1200" kern="0" dirty="0"/>
          </a:p>
          <a:p>
            <a:pPr>
              <a:buFont typeface="Arial" panose="020B0604020202020204" pitchFamily="34" charset="0"/>
              <a:buChar char="•"/>
            </a:pPr>
            <a:endParaRPr lang="en-US" sz="1200" kern="0" dirty="0">
              <a:latin typeface="Garamond" panose="02020404030301010803" pitchFamily="18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en-US" sz="1200" kern="0" dirty="0">
              <a:latin typeface="Garamond" panose="02020404030301010803" pitchFamily="18" charset="0"/>
            </a:endParaRPr>
          </a:p>
          <a:p>
            <a:endParaRPr lang="en-US" sz="1200" kern="0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04B4FFF-1468-40CB-AF23-55EEFD734EEA}"/>
              </a:ext>
            </a:extLst>
          </p:cNvPr>
          <p:cNvSpPr txBox="1">
            <a:spLocks/>
          </p:cNvSpPr>
          <p:nvPr/>
        </p:nvSpPr>
        <p:spPr bwMode="auto">
          <a:xfrm>
            <a:off x="800100" y="2110698"/>
            <a:ext cx="3513762" cy="308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Font typeface="Wingdings" pitchFamily="2" charset="2"/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2pPr>
            <a:lvl3pPr marL="4763" indent="9096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1200" dirty="0">
                <a:latin typeface="Garamond" panose="02020404030301010803" pitchFamily="18" charset="0"/>
              </a:rPr>
              <a:t>You want to keep master branch clean meaning that you don’t want to push changes directly to the master branch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1200" dirty="0">
                <a:latin typeface="Garamond" panose="02020404030301010803" pitchFamily="18" charset="0"/>
              </a:rPr>
              <a:t>Instead, generate a branch for any specific task or development work that you work on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1200" dirty="0">
                <a:latin typeface="Garamond" panose="02020404030301010803" pitchFamily="18" charset="0"/>
              </a:rPr>
              <a:t>To create a branch, select “Branch” and “New branch”</a:t>
            </a:r>
          </a:p>
          <a:p>
            <a:pPr marL="514350" lvl="1">
              <a:buFont typeface="Arial" panose="020B0604020202020204" pitchFamily="34" charset="0"/>
              <a:buChar char="•"/>
            </a:pPr>
            <a:r>
              <a:rPr lang="en-US" sz="1200" dirty="0">
                <a:latin typeface="Garamond" panose="02020404030301010803" pitchFamily="18" charset="0"/>
              </a:rPr>
              <a:t>See this </a:t>
            </a:r>
            <a:r>
              <a:rPr lang="en-US" sz="1200" dirty="0">
                <a:latin typeface="Garamond" panose="02020404030301010803" pitchFamily="18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rticle</a:t>
            </a:r>
            <a:r>
              <a:rPr lang="en-US" sz="1200" dirty="0">
                <a:latin typeface="Garamond" panose="02020404030301010803" pitchFamily="18" charset="0"/>
              </a:rPr>
              <a:t> on branch name conventions</a:t>
            </a:r>
          </a:p>
          <a:p>
            <a:pPr marL="514350" lvl="1">
              <a:buFont typeface="Arial" panose="020B0604020202020204" pitchFamily="34" charset="0"/>
              <a:buChar char="•"/>
            </a:pPr>
            <a:r>
              <a:rPr lang="en-US" sz="1200" dirty="0">
                <a:latin typeface="Garamond" panose="02020404030301010803" pitchFamily="18" charset="0"/>
              </a:rPr>
              <a:t>For now we create a new branch called </a:t>
            </a:r>
            <a:r>
              <a:rPr lang="en-US" sz="1200" dirty="0" err="1">
                <a:latin typeface="Garamond" panose="02020404030301010803" pitchFamily="18" charset="0"/>
              </a:rPr>
              <a:t>test_branch</a:t>
            </a:r>
            <a:endParaRPr lang="en-US" sz="1200" dirty="0">
              <a:latin typeface="Garamond" panose="02020404030301010803" pitchFamily="18" charset="0"/>
            </a:endParaRP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1200" dirty="0">
                <a:latin typeface="Garamond" panose="02020404030301010803" pitchFamily="18" charset="0"/>
              </a:rPr>
              <a:t>Notice that your current branch is now </a:t>
            </a:r>
            <a:r>
              <a:rPr lang="en-US" sz="1200" dirty="0" err="1">
                <a:latin typeface="Garamond" panose="02020404030301010803" pitchFamily="18" charset="0"/>
              </a:rPr>
              <a:t>test_branch</a:t>
            </a:r>
            <a:endParaRPr lang="en-US" sz="1200" dirty="0">
              <a:latin typeface="Garamond" panose="02020404030301010803" pitchFamily="18" charset="0"/>
            </a:endParaRP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1200" dirty="0">
                <a:latin typeface="Garamond" panose="02020404030301010803" pitchFamily="18" charset="0"/>
              </a:rPr>
              <a:t>Make edits in test.do, save the revised DO file, and commit in </a:t>
            </a:r>
            <a:r>
              <a:rPr lang="en-US" sz="1200" dirty="0" err="1">
                <a:latin typeface="Garamond" panose="02020404030301010803" pitchFamily="18" charset="0"/>
              </a:rPr>
              <a:t>test_branch</a:t>
            </a:r>
            <a:endParaRPr lang="en-US" sz="1200" dirty="0">
              <a:latin typeface="Garamond" panose="02020404030301010803" pitchFamily="18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en-US" sz="1200" kern="0" dirty="0">
              <a:latin typeface="Garamond" panose="02020404030301010803" pitchFamily="18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en-US" sz="1200" kern="0" dirty="0">
              <a:latin typeface="Garamond" panose="02020404030301010803" pitchFamily="18" charset="0"/>
            </a:endParaRPr>
          </a:p>
          <a:p>
            <a:endParaRPr lang="en-US" sz="1200" kern="0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3B1FB33-30F3-4544-86E9-5A8160E5CC7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4859" t="17852" r="24831" b="22147"/>
          <a:stretch/>
        </p:blipFill>
        <p:spPr>
          <a:xfrm>
            <a:off x="4944440" y="2121155"/>
            <a:ext cx="3893574" cy="2612021"/>
          </a:xfrm>
          <a:prstGeom prst="rect">
            <a:avLst/>
          </a:prstGeom>
        </p:spPr>
      </p:pic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825BC38-9BE3-42B0-A8B9-3A9942A0025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358136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59FB22-A36B-4DEE-A5E2-1B74FA8DE1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1300324"/>
            <a:ext cx="7772400" cy="422672"/>
          </a:xfrm>
        </p:spPr>
        <p:txBody>
          <a:bodyPr>
            <a:normAutofit/>
          </a:bodyPr>
          <a:lstStyle/>
          <a:p>
            <a:pPr>
              <a:spcBef>
                <a:spcPts val="450"/>
              </a:spcBef>
            </a:pPr>
            <a:r>
              <a:rPr lang="en-US" dirty="0">
                <a:latin typeface="Garamond" panose="02020404030301010803" pitchFamily="18" charset="0"/>
              </a:rPr>
              <a:t>Open a "pull request" (propose changes to the master branch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99355B1-9935-4AC4-BEEC-7193FD9708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40EC01-2D2E-4C25-A991-65C1A3C8AE89}" type="slidenum">
              <a:rPr lang="en-US" smtClean="0"/>
              <a:pPr/>
              <a:t>27</a:t>
            </a:fld>
            <a:endParaRPr lang="en-US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6AD2EC21-5DE8-4D46-8632-9481CF3C5A5D}"/>
              </a:ext>
            </a:extLst>
          </p:cNvPr>
          <p:cNvSpPr txBox="1">
            <a:spLocks/>
          </p:cNvSpPr>
          <p:nvPr/>
        </p:nvSpPr>
        <p:spPr bwMode="auto">
          <a:xfrm>
            <a:off x="685800" y="1996398"/>
            <a:ext cx="3513762" cy="308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Font typeface="Wingdings" pitchFamily="2" charset="2"/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2pPr>
            <a:lvl3pPr marL="4763" indent="9096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/>
            <a:endParaRPr lang="en-US" sz="1200" kern="0" dirty="0"/>
          </a:p>
          <a:p>
            <a:pPr>
              <a:buFont typeface="Arial" panose="020B0604020202020204" pitchFamily="34" charset="0"/>
              <a:buChar char="•"/>
            </a:pPr>
            <a:endParaRPr lang="en-US" sz="1200" kern="0" dirty="0">
              <a:latin typeface="Garamond" panose="02020404030301010803" pitchFamily="18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en-US" sz="1200" kern="0" dirty="0">
              <a:latin typeface="Garamond" panose="02020404030301010803" pitchFamily="18" charset="0"/>
            </a:endParaRPr>
          </a:p>
          <a:p>
            <a:endParaRPr lang="en-US" sz="1200" kern="0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04B4FFF-1468-40CB-AF23-55EEFD734EEA}"/>
              </a:ext>
            </a:extLst>
          </p:cNvPr>
          <p:cNvSpPr txBox="1">
            <a:spLocks/>
          </p:cNvSpPr>
          <p:nvPr/>
        </p:nvSpPr>
        <p:spPr bwMode="auto">
          <a:xfrm>
            <a:off x="800100" y="2110698"/>
            <a:ext cx="3513762" cy="308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Font typeface="Wingdings" pitchFamily="2" charset="2"/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2pPr>
            <a:lvl3pPr marL="4763" indent="9096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ts val="45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latin typeface="Garamond" panose="02020404030301010803" pitchFamily="18" charset="0"/>
              </a:rPr>
              <a:t>Open a "pull request" (propose changes to the master branch) by clicking on “Create Pull Request”</a:t>
            </a:r>
            <a:endParaRPr lang="en-US" sz="1200" kern="0" dirty="0">
              <a:latin typeface="Garamond" panose="02020404030301010803" pitchFamily="18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en-US" sz="1200" kern="0" dirty="0">
              <a:latin typeface="Garamond" panose="02020404030301010803" pitchFamily="18" charset="0"/>
            </a:endParaRPr>
          </a:p>
          <a:p>
            <a:endParaRPr lang="en-US" sz="1200" kern="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12864D3-73FF-4BC3-B9ED-A34921C62BD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5028" t="17852" r="24999" b="21049"/>
          <a:stretch/>
        </p:blipFill>
        <p:spPr>
          <a:xfrm>
            <a:off x="4369085" y="2011168"/>
            <a:ext cx="4569432" cy="3142609"/>
          </a:xfrm>
          <a:prstGeom prst="rect">
            <a:avLst/>
          </a:prstGeom>
        </p:spPr>
      </p:pic>
      <p:sp>
        <p:nvSpPr>
          <p:cNvPr id="9" name="Oval 8">
            <a:extLst>
              <a:ext uri="{FF2B5EF4-FFF2-40B4-BE49-F238E27FC236}">
                <a16:creationId xmlns:a16="http://schemas.microsoft.com/office/drawing/2014/main" id="{34881507-BB57-47A5-AD22-C624AA0E2594}"/>
              </a:ext>
            </a:extLst>
          </p:cNvPr>
          <p:cNvSpPr/>
          <p:nvPr/>
        </p:nvSpPr>
        <p:spPr bwMode="auto">
          <a:xfrm>
            <a:off x="7667090" y="3086100"/>
            <a:ext cx="1171254" cy="685800"/>
          </a:xfrm>
          <a:prstGeom prst="ellips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86916" indent="-86916" defTabSz="685800">
              <a:spcBef>
                <a:spcPct val="50000"/>
              </a:spcBef>
              <a:buFontTx/>
              <a:buChar char="•"/>
            </a:pPr>
            <a:endParaRPr lang="en-US" sz="975" b="0" dirty="0"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665783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59FB22-A36B-4DEE-A5E2-1B74FA8DE1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1300324"/>
            <a:ext cx="7772400" cy="422672"/>
          </a:xfrm>
        </p:spPr>
        <p:txBody>
          <a:bodyPr>
            <a:normAutofit/>
          </a:bodyPr>
          <a:lstStyle/>
          <a:p>
            <a:pPr>
              <a:spcBef>
                <a:spcPts val="450"/>
              </a:spcBef>
            </a:pPr>
            <a:r>
              <a:rPr lang="en-US" dirty="0">
                <a:latin typeface="Garamond" panose="02020404030301010803" pitchFamily="18" charset="0"/>
              </a:rPr>
              <a:t>Open a "pull request" (propose changes to the master branch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99355B1-9935-4AC4-BEEC-7193FD9708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40EC01-2D2E-4C25-A991-65C1A3C8AE89}" type="slidenum">
              <a:rPr lang="en-US" smtClean="0"/>
              <a:pPr/>
              <a:t>28</a:t>
            </a:fld>
            <a:endParaRPr lang="en-US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6AD2EC21-5DE8-4D46-8632-9481CF3C5A5D}"/>
              </a:ext>
            </a:extLst>
          </p:cNvPr>
          <p:cNvSpPr txBox="1">
            <a:spLocks/>
          </p:cNvSpPr>
          <p:nvPr/>
        </p:nvSpPr>
        <p:spPr bwMode="auto">
          <a:xfrm>
            <a:off x="685800" y="1996398"/>
            <a:ext cx="3513762" cy="308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Font typeface="Wingdings" pitchFamily="2" charset="2"/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2pPr>
            <a:lvl3pPr marL="4763" indent="9096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/>
            <a:endParaRPr lang="en-US" sz="1200" kern="0" dirty="0"/>
          </a:p>
          <a:p>
            <a:pPr>
              <a:buFont typeface="Arial" panose="020B0604020202020204" pitchFamily="34" charset="0"/>
              <a:buChar char="•"/>
            </a:pPr>
            <a:endParaRPr lang="en-US" sz="1200" kern="0" dirty="0">
              <a:latin typeface="Garamond" panose="02020404030301010803" pitchFamily="18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en-US" sz="1200" kern="0" dirty="0">
              <a:latin typeface="Garamond" panose="02020404030301010803" pitchFamily="18" charset="0"/>
            </a:endParaRPr>
          </a:p>
          <a:p>
            <a:endParaRPr lang="en-US" sz="1200" kern="0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04B4FFF-1468-40CB-AF23-55EEFD734EEA}"/>
              </a:ext>
            </a:extLst>
          </p:cNvPr>
          <p:cNvSpPr txBox="1">
            <a:spLocks/>
          </p:cNvSpPr>
          <p:nvPr/>
        </p:nvSpPr>
        <p:spPr bwMode="auto">
          <a:xfrm>
            <a:off x="800100" y="2110698"/>
            <a:ext cx="3513762" cy="308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Font typeface="Wingdings" pitchFamily="2" charset="2"/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2pPr>
            <a:lvl3pPr marL="4763" indent="9096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ts val="45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latin typeface="Garamond" panose="02020404030301010803" pitchFamily="18" charset="0"/>
              </a:rPr>
              <a:t>Open a "pull request" (propose changes to the master branch) by clicking on “Create Pull Request”</a:t>
            </a:r>
          </a:p>
          <a:p>
            <a:pPr>
              <a:spcBef>
                <a:spcPts val="45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latin typeface="Garamond" panose="02020404030301010803" pitchFamily="18" charset="0"/>
              </a:rPr>
              <a:t>Provide a brief description of what you have worked in the given branch</a:t>
            </a:r>
          </a:p>
          <a:p>
            <a:pPr>
              <a:spcBef>
                <a:spcPts val="45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latin typeface="Garamond" panose="02020404030301010803" pitchFamily="18" charset="0"/>
              </a:rPr>
              <a:t>Click on “Create pull request”</a:t>
            </a:r>
          </a:p>
          <a:p>
            <a:pPr>
              <a:spcBef>
                <a:spcPts val="450"/>
              </a:spcBef>
              <a:buFont typeface="+mj-lt"/>
              <a:buAutoNum type="arabicPeriod"/>
            </a:pPr>
            <a:endParaRPr lang="en-US" sz="1200" dirty="0">
              <a:latin typeface="Garamond" panose="02020404030301010803" pitchFamily="18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en-US" sz="1200" kern="0" dirty="0">
              <a:latin typeface="Garamond" panose="02020404030301010803" pitchFamily="18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en-US" sz="1200" kern="0" dirty="0">
              <a:latin typeface="Garamond" panose="02020404030301010803" pitchFamily="18" charset="0"/>
            </a:endParaRPr>
          </a:p>
          <a:p>
            <a:endParaRPr lang="en-US" sz="1200" kern="0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33D7C0D-DFC5-4ABE-BFCB-84EC5192F56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9466" t="30262" r="36209" b="17852"/>
          <a:stretch/>
        </p:blipFill>
        <p:spPr>
          <a:xfrm>
            <a:off x="4572001" y="2069747"/>
            <a:ext cx="4053155" cy="2668713"/>
          </a:xfrm>
          <a:prstGeom prst="rect">
            <a:avLst/>
          </a:prstGeom>
        </p:spPr>
      </p:pic>
      <p:sp>
        <p:nvSpPr>
          <p:cNvPr id="11" name="Oval 10">
            <a:extLst>
              <a:ext uri="{FF2B5EF4-FFF2-40B4-BE49-F238E27FC236}">
                <a16:creationId xmlns:a16="http://schemas.microsoft.com/office/drawing/2014/main" id="{1D5D12E4-C1C8-46DC-AF04-54E6BC5B98A1}"/>
              </a:ext>
            </a:extLst>
          </p:cNvPr>
          <p:cNvSpPr/>
          <p:nvPr/>
        </p:nvSpPr>
        <p:spPr bwMode="auto">
          <a:xfrm>
            <a:off x="7520683" y="4211120"/>
            <a:ext cx="1171254" cy="685800"/>
          </a:xfrm>
          <a:prstGeom prst="ellips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86916" indent="-86916" defTabSz="685800">
              <a:spcBef>
                <a:spcPct val="50000"/>
              </a:spcBef>
              <a:buFontTx/>
              <a:buChar char="•"/>
            </a:pPr>
            <a:endParaRPr lang="en-US" sz="975" b="0" dirty="0"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377006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1226A3-FD12-4BA7-ABF5-9D40868807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cap="none" dirty="0">
                <a:ea typeface="MS PGothic"/>
              </a:rPr>
              <a:t>Introduction to Google Earth Engine</a:t>
            </a:r>
          </a:p>
        </p:txBody>
      </p:sp>
    </p:spTree>
    <p:extLst>
      <p:ext uri="{BB962C8B-B14F-4D97-AF65-F5344CB8AC3E}">
        <p14:creationId xmlns:p14="http://schemas.microsoft.com/office/powerpoint/2010/main" val="328921536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59FB22-A36B-4DEE-A5E2-1B74FA8DE1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1300324"/>
            <a:ext cx="7772400" cy="422672"/>
          </a:xfrm>
        </p:spPr>
        <p:txBody>
          <a:bodyPr>
            <a:normAutofit/>
          </a:bodyPr>
          <a:lstStyle/>
          <a:p>
            <a:pPr>
              <a:spcBef>
                <a:spcPts val="450"/>
              </a:spcBef>
            </a:pPr>
            <a:r>
              <a:rPr lang="en-US" dirty="0">
                <a:latin typeface="Garamond" panose="02020404030301010803" pitchFamily="18" charset="0"/>
              </a:rPr>
              <a:t>Open a "pull request" (propose changes to the master branch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99355B1-9935-4AC4-BEEC-7193FD9708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40EC01-2D2E-4C25-A991-65C1A3C8AE89}" type="slidenum">
              <a:rPr lang="en-US" smtClean="0"/>
              <a:pPr/>
              <a:t>29</a:t>
            </a:fld>
            <a:endParaRPr lang="en-US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6AD2EC21-5DE8-4D46-8632-9481CF3C5A5D}"/>
              </a:ext>
            </a:extLst>
          </p:cNvPr>
          <p:cNvSpPr txBox="1">
            <a:spLocks/>
          </p:cNvSpPr>
          <p:nvPr/>
        </p:nvSpPr>
        <p:spPr bwMode="auto">
          <a:xfrm>
            <a:off x="685800" y="1996398"/>
            <a:ext cx="3513762" cy="308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Font typeface="Wingdings" pitchFamily="2" charset="2"/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2pPr>
            <a:lvl3pPr marL="4763" indent="9096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/>
            <a:endParaRPr lang="en-US" sz="1200" kern="0" dirty="0"/>
          </a:p>
          <a:p>
            <a:pPr>
              <a:buFont typeface="Arial" panose="020B0604020202020204" pitchFamily="34" charset="0"/>
              <a:buChar char="•"/>
            </a:pPr>
            <a:endParaRPr lang="en-US" sz="1200" kern="0" dirty="0">
              <a:latin typeface="Garamond" panose="02020404030301010803" pitchFamily="18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en-US" sz="1200" kern="0" dirty="0">
              <a:latin typeface="Garamond" panose="02020404030301010803" pitchFamily="18" charset="0"/>
            </a:endParaRPr>
          </a:p>
          <a:p>
            <a:endParaRPr lang="en-US" sz="1200" kern="0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04B4FFF-1468-40CB-AF23-55EEFD734EEA}"/>
              </a:ext>
            </a:extLst>
          </p:cNvPr>
          <p:cNvSpPr txBox="1">
            <a:spLocks/>
          </p:cNvSpPr>
          <p:nvPr/>
        </p:nvSpPr>
        <p:spPr bwMode="auto">
          <a:xfrm>
            <a:off x="800100" y="2110698"/>
            <a:ext cx="3513762" cy="308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Font typeface="Wingdings" pitchFamily="2" charset="2"/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2pPr>
            <a:lvl3pPr marL="4763" indent="9096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ts val="45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latin typeface="Garamond" panose="02020404030301010803" pitchFamily="18" charset="0"/>
              </a:rPr>
              <a:t>Open a "pull request" (propose changes to the master branch) by clicking on “Create Pull Request”</a:t>
            </a:r>
          </a:p>
          <a:p>
            <a:pPr>
              <a:spcBef>
                <a:spcPts val="45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latin typeface="Garamond" panose="02020404030301010803" pitchFamily="18" charset="0"/>
              </a:rPr>
              <a:t>Provide a brief description of what you have worked in the given branch</a:t>
            </a:r>
          </a:p>
          <a:p>
            <a:pPr>
              <a:spcBef>
                <a:spcPts val="45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latin typeface="Garamond" panose="02020404030301010803" pitchFamily="18" charset="0"/>
              </a:rPr>
              <a:t>Click on “Create pull request”</a:t>
            </a:r>
          </a:p>
          <a:p>
            <a:pPr>
              <a:spcBef>
                <a:spcPts val="45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latin typeface="Garamond" panose="02020404030301010803" pitchFamily="18" charset="0"/>
              </a:rPr>
              <a:t>Finally, “Merge pull request” to merge those changes into the master branch </a:t>
            </a:r>
          </a:p>
          <a:p>
            <a:pPr>
              <a:buFont typeface="Arial" panose="020B0604020202020204" pitchFamily="34" charset="0"/>
              <a:buChar char="•"/>
            </a:pPr>
            <a:endParaRPr lang="en-US" sz="1200" kern="0" dirty="0">
              <a:latin typeface="Garamond" panose="02020404030301010803" pitchFamily="18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en-US" sz="1200" kern="0" dirty="0">
              <a:latin typeface="Garamond" panose="02020404030301010803" pitchFamily="18" charset="0"/>
            </a:endParaRPr>
          </a:p>
          <a:p>
            <a:endParaRPr lang="en-US" sz="1200" kern="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9635017-8F63-4151-954C-92F5D30A813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9804" t="30262" r="30393" b="12537"/>
          <a:stretch/>
        </p:blipFill>
        <p:spPr>
          <a:xfrm>
            <a:off x="4313862" y="1996398"/>
            <a:ext cx="4554021" cy="2942116"/>
          </a:xfrm>
          <a:prstGeom prst="rect">
            <a:avLst/>
          </a:prstGeom>
        </p:spPr>
      </p:pic>
      <p:sp>
        <p:nvSpPr>
          <p:cNvPr id="11" name="Oval 10">
            <a:extLst>
              <a:ext uri="{FF2B5EF4-FFF2-40B4-BE49-F238E27FC236}">
                <a16:creationId xmlns:a16="http://schemas.microsoft.com/office/drawing/2014/main" id="{1D5D12E4-C1C8-46DC-AF04-54E6BC5B98A1}"/>
              </a:ext>
            </a:extLst>
          </p:cNvPr>
          <p:cNvSpPr/>
          <p:nvPr/>
        </p:nvSpPr>
        <p:spPr bwMode="auto">
          <a:xfrm>
            <a:off x="5419619" y="4396698"/>
            <a:ext cx="1171254" cy="685800"/>
          </a:xfrm>
          <a:prstGeom prst="ellips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86916" indent="-86916" defTabSz="685800">
              <a:spcBef>
                <a:spcPct val="50000"/>
              </a:spcBef>
              <a:buFontTx/>
              <a:buChar char="•"/>
            </a:pPr>
            <a:endParaRPr lang="en-US" sz="975" b="0" dirty="0"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642801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59FB22-A36B-4DEE-A5E2-1B74FA8DE1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1300324"/>
            <a:ext cx="7772400" cy="422672"/>
          </a:xfrm>
        </p:spPr>
        <p:txBody>
          <a:bodyPr>
            <a:normAutofit/>
          </a:bodyPr>
          <a:lstStyle/>
          <a:p>
            <a:pPr>
              <a:spcBef>
                <a:spcPts val="450"/>
              </a:spcBef>
            </a:pPr>
            <a:r>
              <a:rPr lang="en-US" dirty="0">
                <a:latin typeface="Garamond" panose="02020404030301010803" pitchFamily="18" charset="0"/>
              </a:rPr>
              <a:t>Open a "pull request" (propose changes to the master branch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99355B1-9935-4AC4-BEEC-7193FD9708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40EC01-2D2E-4C25-A991-65C1A3C8AE89}" type="slidenum">
              <a:rPr lang="en-US" smtClean="0"/>
              <a:pPr/>
              <a:t>30</a:t>
            </a:fld>
            <a:endParaRPr lang="en-US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6AD2EC21-5DE8-4D46-8632-9481CF3C5A5D}"/>
              </a:ext>
            </a:extLst>
          </p:cNvPr>
          <p:cNvSpPr txBox="1">
            <a:spLocks/>
          </p:cNvSpPr>
          <p:nvPr/>
        </p:nvSpPr>
        <p:spPr bwMode="auto">
          <a:xfrm>
            <a:off x="685800" y="1996398"/>
            <a:ext cx="3513762" cy="308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Font typeface="Wingdings" pitchFamily="2" charset="2"/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2pPr>
            <a:lvl3pPr marL="4763" indent="9096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/>
            <a:endParaRPr lang="en-US" sz="1200" kern="0" dirty="0"/>
          </a:p>
          <a:p>
            <a:pPr>
              <a:buFont typeface="Arial" panose="020B0604020202020204" pitchFamily="34" charset="0"/>
              <a:buChar char="•"/>
            </a:pPr>
            <a:endParaRPr lang="en-US" sz="1200" kern="0" dirty="0">
              <a:latin typeface="Garamond" panose="02020404030301010803" pitchFamily="18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en-US" sz="1200" kern="0" dirty="0">
              <a:latin typeface="Garamond" panose="02020404030301010803" pitchFamily="18" charset="0"/>
            </a:endParaRPr>
          </a:p>
          <a:p>
            <a:endParaRPr lang="en-US" sz="1200" kern="0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04B4FFF-1468-40CB-AF23-55EEFD734EEA}"/>
              </a:ext>
            </a:extLst>
          </p:cNvPr>
          <p:cNvSpPr txBox="1">
            <a:spLocks/>
          </p:cNvSpPr>
          <p:nvPr/>
        </p:nvSpPr>
        <p:spPr bwMode="auto">
          <a:xfrm>
            <a:off x="800100" y="2110698"/>
            <a:ext cx="3513762" cy="308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Font typeface="Wingdings" pitchFamily="2" charset="2"/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2pPr>
            <a:lvl3pPr marL="4763" indent="9096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ts val="45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latin typeface="Garamond" panose="02020404030301010803" pitchFamily="18" charset="0"/>
              </a:rPr>
              <a:t>Open a "pull request" (propose changes to the master branch) by clicking on “Create Pull Request”</a:t>
            </a:r>
          </a:p>
          <a:p>
            <a:pPr>
              <a:spcBef>
                <a:spcPts val="45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latin typeface="Garamond" panose="02020404030301010803" pitchFamily="18" charset="0"/>
              </a:rPr>
              <a:t>Provide a brief description of what you have worked in the given branch</a:t>
            </a:r>
          </a:p>
          <a:p>
            <a:pPr>
              <a:spcBef>
                <a:spcPts val="45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latin typeface="Garamond" panose="02020404030301010803" pitchFamily="18" charset="0"/>
              </a:rPr>
              <a:t>Click on “Create pull request”</a:t>
            </a:r>
          </a:p>
          <a:p>
            <a:pPr>
              <a:spcBef>
                <a:spcPts val="45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latin typeface="Garamond" panose="02020404030301010803" pitchFamily="18" charset="0"/>
              </a:rPr>
              <a:t>Finally, “Merge pull request” to merge those changes into the master branch </a:t>
            </a:r>
          </a:p>
          <a:p>
            <a:pPr>
              <a:spcBef>
                <a:spcPts val="45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latin typeface="Garamond" panose="02020404030301010803" pitchFamily="18" charset="0"/>
              </a:rPr>
              <a:t>Note that the pull request is now reflected in the master branch on GitHub but not in your own copy of the master branch on your local computer</a:t>
            </a:r>
          </a:p>
          <a:p>
            <a:pPr>
              <a:spcBef>
                <a:spcPts val="45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latin typeface="Garamond" panose="02020404030301010803" pitchFamily="18" charset="0"/>
              </a:rPr>
              <a:t>To “pull” those changes from GitHub, you can switch to master under “Current branch” and click on “Pull origin”</a:t>
            </a:r>
          </a:p>
          <a:p>
            <a:pPr>
              <a:buFont typeface="Arial" panose="020B0604020202020204" pitchFamily="34" charset="0"/>
              <a:buChar char="•"/>
            </a:pPr>
            <a:endParaRPr lang="en-US" sz="1200" kern="0" dirty="0">
              <a:latin typeface="Garamond" panose="02020404030301010803" pitchFamily="18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en-US" sz="1200" kern="0" dirty="0">
              <a:latin typeface="Garamond" panose="02020404030301010803" pitchFamily="18" charset="0"/>
            </a:endParaRPr>
          </a:p>
          <a:p>
            <a:endParaRPr lang="en-US" sz="1200" kern="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6200CE0-2B54-4A23-B93C-9060CC0B83B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4944" t="17852" r="10168" b="11761"/>
          <a:stretch/>
        </p:blipFill>
        <p:spPr>
          <a:xfrm>
            <a:off x="4428162" y="2277505"/>
            <a:ext cx="4597044" cy="2804993"/>
          </a:xfrm>
          <a:prstGeom prst="rect">
            <a:avLst/>
          </a:prstGeom>
        </p:spPr>
      </p:pic>
      <p:sp>
        <p:nvSpPr>
          <p:cNvPr id="9" name="Oval 8">
            <a:extLst>
              <a:ext uri="{FF2B5EF4-FFF2-40B4-BE49-F238E27FC236}">
                <a16:creationId xmlns:a16="http://schemas.microsoft.com/office/drawing/2014/main" id="{00650579-1432-479E-B8C0-A31042C7755D}"/>
              </a:ext>
            </a:extLst>
          </p:cNvPr>
          <p:cNvSpPr/>
          <p:nvPr/>
        </p:nvSpPr>
        <p:spPr bwMode="auto">
          <a:xfrm>
            <a:off x="7628562" y="3169615"/>
            <a:ext cx="896421" cy="518771"/>
          </a:xfrm>
          <a:prstGeom prst="ellips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86916" indent="-86916" defTabSz="685800">
              <a:spcBef>
                <a:spcPct val="50000"/>
              </a:spcBef>
              <a:buFontTx/>
              <a:buChar char="•"/>
            </a:pPr>
            <a:endParaRPr lang="en-US" sz="975" b="0" dirty="0">
              <a:cs typeface="Times New Roman" pitchFamily="18" charset="0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7F104A3D-0858-4F84-ACC9-06A13EFE1A4E}"/>
              </a:ext>
            </a:extLst>
          </p:cNvPr>
          <p:cNvSpPr/>
          <p:nvPr/>
        </p:nvSpPr>
        <p:spPr bwMode="auto">
          <a:xfrm>
            <a:off x="5300182" y="2212834"/>
            <a:ext cx="896421" cy="518771"/>
          </a:xfrm>
          <a:prstGeom prst="ellips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86916" indent="-86916" defTabSz="685800">
              <a:spcBef>
                <a:spcPct val="50000"/>
              </a:spcBef>
              <a:buFontTx/>
              <a:buChar char="•"/>
            </a:pPr>
            <a:endParaRPr lang="en-US" sz="975" b="0" dirty="0"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256740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59FB22-A36B-4DEE-A5E2-1B74FA8DE1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1300324"/>
            <a:ext cx="7772400" cy="422672"/>
          </a:xfrm>
        </p:spPr>
        <p:txBody>
          <a:bodyPr>
            <a:normAutofit/>
          </a:bodyPr>
          <a:lstStyle/>
          <a:p>
            <a:pPr>
              <a:spcBef>
                <a:spcPts val="450"/>
              </a:spcBef>
            </a:pPr>
            <a:r>
              <a:rPr lang="en-US" sz="1725" dirty="0">
                <a:latin typeface="Garamond" panose="02020404030301010803" pitchFamily="18" charset="0"/>
              </a:rPr>
              <a:t>"Merge" your branch to the master branch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99355B1-9935-4AC4-BEEC-7193FD9708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40EC01-2D2E-4C25-A991-65C1A3C8AE89}" type="slidenum">
              <a:rPr lang="en-US" smtClean="0"/>
              <a:pPr/>
              <a:t>31</a:t>
            </a:fld>
            <a:endParaRPr lang="en-US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6AD2EC21-5DE8-4D46-8632-9481CF3C5A5D}"/>
              </a:ext>
            </a:extLst>
          </p:cNvPr>
          <p:cNvSpPr txBox="1">
            <a:spLocks/>
          </p:cNvSpPr>
          <p:nvPr/>
        </p:nvSpPr>
        <p:spPr bwMode="auto">
          <a:xfrm>
            <a:off x="685800" y="1996398"/>
            <a:ext cx="3513762" cy="308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Font typeface="Wingdings" pitchFamily="2" charset="2"/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2pPr>
            <a:lvl3pPr marL="4763" indent="9096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/>
            <a:endParaRPr lang="en-US" sz="1200" kern="0" dirty="0"/>
          </a:p>
          <a:p>
            <a:pPr>
              <a:buFont typeface="Arial" panose="020B0604020202020204" pitchFamily="34" charset="0"/>
              <a:buChar char="•"/>
            </a:pPr>
            <a:endParaRPr lang="en-US" sz="1200" kern="0" dirty="0">
              <a:latin typeface="Garamond" panose="02020404030301010803" pitchFamily="18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en-US" sz="1200" kern="0" dirty="0">
              <a:latin typeface="Garamond" panose="02020404030301010803" pitchFamily="18" charset="0"/>
            </a:endParaRPr>
          </a:p>
          <a:p>
            <a:endParaRPr lang="en-US" sz="1200" kern="0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04B4FFF-1468-40CB-AF23-55EEFD734EEA}"/>
              </a:ext>
            </a:extLst>
          </p:cNvPr>
          <p:cNvSpPr txBox="1">
            <a:spLocks/>
          </p:cNvSpPr>
          <p:nvPr/>
        </p:nvSpPr>
        <p:spPr bwMode="auto">
          <a:xfrm>
            <a:off x="800100" y="2110698"/>
            <a:ext cx="3513762" cy="308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Font typeface="Wingdings" pitchFamily="2" charset="2"/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2pPr>
            <a:lvl3pPr marL="4763" indent="9096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en-US" sz="1200" kern="0" dirty="0">
                <a:latin typeface="Garamond" panose="02020404030301010803" pitchFamily="18" charset="0"/>
              </a:rPr>
              <a:t>You may also directly merge your branch into the master branch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200" kern="0" dirty="0">
                <a:latin typeface="Garamond" panose="02020404030301010803" pitchFamily="18" charset="0"/>
              </a:rPr>
              <a:t>Switch to “master” branch under “Current branch” and select “Merge into current branch”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200" kern="0" dirty="0">
                <a:latin typeface="Garamond" panose="02020404030301010803" pitchFamily="18" charset="0"/>
              </a:rPr>
              <a:t>Select the branch that you would like to merge into current branch (in this case, “master”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200" kern="0" dirty="0">
                <a:latin typeface="Garamond" panose="02020404030301010803" pitchFamily="18" charset="0"/>
              </a:rPr>
              <a:t>Once the merge is done, you see changes you made in </a:t>
            </a:r>
            <a:r>
              <a:rPr lang="en-US" sz="1200" kern="0" dirty="0" err="1">
                <a:latin typeface="Garamond" panose="02020404030301010803" pitchFamily="18" charset="0"/>
              </a:rPr>
              <a:t>test_branch</a:t>
            </a:r>
            <a:r>
              <a:rPr lang="en-US" sz="1200" kern="0" dirty="0">
                <a:latin typeface="Garamond" panose="02020404030301010803" pitchFamily="18" charset="0"/>
              </a:rPr>
              <a:t> will be reflected in the </a:t>
            </a:r>
            <a:r>
              <a:rPr lang="en-US" sz="1200" kern="0">
                <a:latin typeface="Garamond" panose="02020404030301010803" pitchFamily="18" charset="0"/>
              </a:rPr>
              <a:t>master branch.</a:t>
            </a:r>
            <a:endParaRPr lang="en-US" sz="1200" kern="0" dirty="0">
              <a:latin typeface="Garamond" panose="02020404030301010803" pitchFamily="18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en-US" sz="1200" kern="0" dirty="0">
              <a:latin typeface="Garamond" panose="02020404030301010803" pitchFamily="18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en-US" sz="1200" kern="0" dirty="0">
              <a:latin typeface="Garamond" panose="02020404030301010803" pitchFamily="18" charset="0"/>
            </a:endParaRPr>
          </a:p>
          <a:p>
            <a:endParaRPr lang="en-US" sz="1200" kern="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FC89623-7A4E-4770-92E7-EC96AC1008D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5028" t="17853" r="23212" b="46000"/>
          <a:stretch/>
        </p:blipFill>
        <p:spPr>
          <a:xfrm>
            <a:off x="4572001" y="2060758"/>
            <a:ext cx="3655031" cy="1435814"/>
          </a:xfrm>
          <a:prstGeom prst="rect">
            <a:avLst/>
          </a:prstGeom>
        </p:spPr>
      </p:pic>
      <p:sp>
        <p:nvSpPr>
          <p:cNvPr id="11" name="Oval 10">
            <a:extLst>
              <a:ext uri="{FF2B5EF4-FFF2-40B4-BE49-F238E27FC236}">
                <a16:creationId xmlns:a16="http://schemas.microsoft.com/office/drawing/2014/main" id="{84FB4F5A-5403-4267-90EC-A17EF8139330}"/>
              </a:ext>
            </a:extLst>
          </p:cNvPr>
          <p:cNvSpPr/>
          <p:nvPr/>
        </p:nvSpPr>
        <p:spPr bwMode="auto">
          <a:xfrm>
            <a:off x="5047038" y="2697036"/>
            <a:ext cx="1533418" cy="518771"/>
          </a:xfrm>
          <a:prstGeom prst="ellips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86916" indent="-86916" defTabSz="685800">
              <a:spcBef>
                <a:spcPct val="50000"/>
              </a:spcBef>
              <a:buFontTx/>
              <a:buChar char="•"/>
            </a:pPr>
            <a:endParaRPr lang="en-US" sz="975" b="0" dirty="0">
              <a:cs typeface="Times New Roman" pitchFamily="18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1E1EBC9-42B8-4DB2-9196-78C1C1CF7DE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5029" t="17852" r="10421" b="22147"/>
          <a:stretch/>
        </p:blipFill>
        <p:spPr>
          <a:xfrm>
            <a:off x="4572000" y="3838037"/>
            <a:ext cx="3655031" cy="1619468"/>
          </a:xfrm>
          <a:prstGeom prst="rect">
            <a:avLst/>
          </a:prstGeom>
        </p:spPr>
      </p:pic>
      <p:sp>
        <p:nvSpPr>
          <p:cNvPr id="12" name="Oval 11">
            <a:extLst>
              <a:ext uri="{FF2B5EF4-FFF2-40B4-BE49-F238E27FC236}">
                <a16:creationId xmlns:a16="http://schemas.microsoft.com/office/drawing/2014/main" id="{31B55692-3F15-4BDD-8E90-5F24EFABD601}"/>
              </a:ext>
            </a:extLst>
          </p:cNvPr>
          <p:cNvSpPr/>
          <p:nvPr/>
        </p:nvSpPr>
        <p:spPr bwMode="auto">
          <a:xfrm>
            <a:off x="5632806" y="5082499"/>
            <a:ext cx="1533418" cy="518771"/>
          </a:xfrm>
          <a:prstGeom prst="ellips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86916" indent="-86916" defTabSz="685800">
              <a:spcBef>
                <a:spcPct val="50000"/>
              </a:spcBef>
              <a:buFontTx/>
              <a:buChar char="•"/>
            </a:pPr>
            <a:endParaRPr lang="en-US" sz="975" b="0" dirty="0"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947250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59FB22-A36B-4DEE-A5E2-1B74FA8DE1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1300324"/>
            <a:ext cx="7772400" cy="422672"/>
          </a:xfrm>
        </p:spPr>
        <p:txBody>
          <a:bodyPr>
            <a:normAutofit/>
          </a:bodyPr>
          <a:lstStyle/>
          <a:p>
            <a:pPr>
              <a:spcBef>
                <a:spcPts val="450"/>
              </a:spcBef>
            </a:pPr>
            <a:r>
              <a:rPr lang="en-US" dirty="0">
                <a:latin typeface="Garamond" panose="02020404030301010803" pitchFamily="18" charset="0"/>
              </a:rPr>
              <a:t>How to resolve conflic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99355B1-9935-4AC4-BEEC-7193FD9708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40EC01-2D2E-4C25-A991-65C1A3C8AE89}" type="slidenum">
              <a:rPr lang="en-US" smtClean="0"/>
              <a:pPr/>
              <a:t>32</a:t>
            </a:fld>
            <a:endParaRPr lang="en-US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6AD2EC21-5DE8-4D46-8632-9481CF3C5A5D}"/>
              </a:ext>
            </a:extLst>
          </p:cNvPr>
          <p:cNvSpPr txBox="1">
            <a:spLocks/>
          </p:cNvSpPr>
          <p:nvPr/>
        </p:nvSpPr>
        <p:spPr bwMode="auto">
          <a:xfrm>
            <a:off x="685800" y="1996398"/>
            <a:ext cx="3513762" cy="308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Font typeface="Wingdings" pitchFamily="2" charset="2"/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2pPr>
            <a:lvl3pPr marL="4763" indent="9096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/>
            <a:endParaRPr lang="en-US" sz="1200" kern="0" dirty="0"/>
          </a:p>
          <a:p>
            <a:pPr>
              <a:buFont typeface="Arial" panose="020B0604020202020204" pitchFamily="34" charset="0"/>
              <a:buChar char="•"/>
            </a:pPr>
            <a:endParaRPr lang="en-US" sz="1200" kern="0" dirty="0">
              <a:latin typeface="Garamond" panose="02020404030301010803" pitchFamily="18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en-US" sz="1200" kern="0" dirty="0">
              <a:latin typeface="Garamond" panose="02020404030301010803" pitchFamily="18" charset="0"/>
            </a:endParaRPr>
          </a:p>
          <a:p>
            <a:endParaRPr lang="en-US" sz="1200" kern="0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04B4FFF-1468-40CB-AF23-55EEFD734EEA}"/>
              </a:ext>
            </a:extLst>
          </p:cNvPr>
          <p:cNvSpPr txBox="1">
            <a:spLocks/>
          </p:cNvSpPr>
          <p:nvPr/>
        </p:nvSpPr>
        <p:spPr bwMode="auto">
          <a:xfrm>
            <a:off x="800100" y="2110698"/>
            <a:ext cx="3513762" cy="308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Font typeface="Wingdings" pitchFamily="2" charset="2"/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2pPr>
            <a:lvl3pPr marL="4763" indent="9096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ts val="450"/>
              </a:spcBef>
              <a:buFont typeface="Arial" panose="020B0604020202020204" pitchFamily="34" charset="0"/>
              <a:buChar char="•"/>
            </a:pPr>
            <a:r>
              <a:rPr lang="en-US" sz="1200" kern="0" dirty="0">
                <a:latin typeface="Garamond" panose="02020404030301010803" pitchFamily="18" charset="0"/>
              </a:rPr>
              <a:t>What if the “pull request” contains some conflicts with the master branch</a:t>
            </a:r>
          </a:p>
          <a:p>
            <a:pPr lvl="1">
              <a:spcBef>
                <a:spcPts val="450"/>
              </a:spcBef>
              <a:buFont typeface="Arial" panose="020B0604020202020204" pitchFamily="34" charset="0"/>
              <a:buChar char="•"/>
            </a:pPr>
            <a:r>
              <a:rPr lang="en-US" sz="1200" kern="0" dirty="0">
                <a:latin typeface="Garamond" panose="02020404030301010803" pitchFamily="18" charset="0"/>
              </a:rPr>
              <a:t>Merge conflicts happen when you merge branches that have competing commits</a:t>
            </a:r>
          </a:p>
          <a:p>
            <a:pPr>
              <a:spcBef>
                <a:spcPts val="450"/>
              </a:spcBef>
              <a:buFont typeface="Arial" panose="020B0604020202020204" pitchFamily="34" charset="0"/>
              <a:buChar char="•"/>
            </a:pPr>
            <a:r>
              <a:rPr lang="en-US" sz="1200" kern="0" dirty="0">
                <a:latin typeface="Garamond" panose="02020404030301010803" pitchFamily="18" charset="0"/>
              </a:rPr>
              <a:t>Let’s say you want to merge </a:t>
            </a:r>
            <a:r>
              <a:rPr lang="en-US" sz="1200" kern="0" dirty="0" err="1">
                <a:latin typeface="Garamond" panose="02020404030301010803" pitchFamily="18" charset="0"/>
              </a:rPr>
              <a:t>test_branch</a:t>
            </a:r>
            <a:r>
              <a:rPr lang="en-US" sz="1200" kern="0" dirty="0">
                <a:latin typeface="Garamond" panose="02020404030301010803" pitchFamily="18" charset="0"/>
              </a:rPr>
              <a:t> to master but it returned an error saying “Resolve conflicts before merging </a:t>
            </a:r>
            <a:r>
              <a:rPr lang="en-US" sz="1200" kern="0" dirty="0" err="1">
                <a:latin typeface="Garamond" panose="02020404030301010803" pitchFamily="18" charset="0"/>
              </a:rPr>
              <a:t>test_branch</a:t>
            </a:r>
            <a:r>
              <a:rPr lang="en-US" sz="1200" kern="0" dirty="0">
                <a:latin typeface="Garamond" panose="02020404030301010803" pitchFamily="18" charset="0"/>
              </a:rPr>
              <a:t> to master.”</a:t>
            </a:r>
          </a:p>
          <a:p>
            <a:pPr>
              <a:spcBef>
                <a:spcPts val="450"/>
              </a:spcBef>
              <a:buFont typeface="Arial" panose="020B0604020202020204" pitchFamily="34" charset="0"/>
              <a:buChar char="•"/>
            </a:pPr>
            <a:r>
              <a:rPr lang="en-US" sz="1200" kern="0" dirty="0">
                <a:latin typeface="Garamond" panose="02020404030301010803" pitchFamily="18" charset="0"/>
              </a:rPr>
              <a:t>When this happens, just open the scripts where these conflicts emerged by selecting an appropriate editor (you can simply use the default software, in this case, STATA do file) </a:t>
            </a:r>
          </a:p>
          <a:p>
            <a:pPr>
              <a:spcBef>
                <a:spcPts val="450"/>
              </a:spcBef>
              <a:buFont typeface="Arial" panose="020B0604020202020204" pitchFamily="34" charset="0"/>
              <a:buChar char="•"/>
            </a:pPr>
            <a:endParaRPr lang="en-US" sz="1200" kern="0" dirty="0">
              <a:latin typeface="Garamond" panose="02020404030301010803" pitchFamily="18" charset="0"/>
            </a:endParaRPr>
          </a:p>
          <a:p>
            <a:endParaRPr lang="en-US" sz="1200" kern="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D184E7D-1B88-4E3F-AEFB-9DBEA0A9B78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5029" t="17852" r="10168" b="11910"/>
          <a:stretch/>
        </p:blipFill>
        <p:spPr>
          <a:xfrm>
            <a:off x="4572000" y="2259516"/>
            <a:ext cx="4438437" cy="2705966"/>
          </a:xfrm>
          <a:prstGeom prst="rect">
            <a:avLst/>
          </a:prstGeom>
        </p:spPr>
      </p:pic>
      <p:sp>
        <p:nvSpPr>
          <p:cNvPr id="9" name="Oval 8">
            <a:extLst>
              <a:ext uri="{FF2B5EF4-FFF2-40B4-BE49-F238E27FC236}">
                <a16:creationId xmlns:a16="http://schemas.microsoft.com/office/drawing/2014/main" id="{45522307-8051-4B5E-9A42-D66D0421AE7B}"/>
              </a:ext>
            </a:extLst>
          </p:cNvPr>
          <p:cNvSpPr/>
          <p:nvPr/>
        </p:nvSpPr>
        <p:spPr bwMode="auto">
          <a:xfrm>
            <a:off x="6991565" y="3380840"/>
            <a:ext cx="852755" cy="397482"/>
          </a:xfrm>
          <a:prstGeom prst="ellips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86916" indent="-86916" defTabSz="685800">
              <a:spcBef>
                <a:spcPct val="50000"/>
              </a:spcBef>
              <a:buFontTx/>
              <a:buChar char="•"/>
            </a:pPr>
            <a:endParaRPr lang="en-US" sz="975" b="0" dirty="0"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6334272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59FB22-A36B-4DEE-A5E2-1B74FA8DE1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1300324"/>
            <a:ext cx="7772400" cy="422672"/>
          </a:xfrm>
        </p:spPr>
        <p:txBody>
          <a:bodyPr>
            <a:normAutofit/>
          </a:bodyPr>
          <a:lstStyle/>
          <a:p>
            <a:pPr>
              <a:spcBef>
                <a:spcPts val="450"/>
              </a:spcBef>
            </a:pPr>
            <a:r>
              <a:rPr lang="en-US" dirty="0">
                <a:latin typeface="Garamond" panose="02020404030301010803" pitchFamily="18" charset="0"/>
              </a:rPr>
              <a:t>How to resolve conflic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99355B1-9935-4AC4-BEEC-7193FD9708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40EC01-2D2E-4C25-A991-65C1A3C8AE89}" type="slidenum">
              <a:rPr lang="en-US" smtClean="0"/>
              <a:pPr/>
              <a:t>33</a:t>
            </a:fld>
            <a:endParaRPr lang="en-US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6AD2EC21-5DE8-4D46-8632-9481CF3C5A5D}"/>
              </a:ext>
            </a:extLst>
          </p:cNvPr>
          <p:cNvSpPr txBox="1">
            <a:spLocks/>
          </p:cNvSpPr>
          <p:nvPr/>
        </p:nvSpPr>
        <p:spPr bwMode="auto">
          <a:xfrm>
            <a:off x="685800" y="1996398"/>
            <a:ext cx="3513762" cy="308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Font typeface="Wingdings" pitchFamily="2" charset="2"/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2pPr>
            <a:lvl3pPr marL="4763" indent="9096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/>
            <a:endParaRPr lang="en-US" sz="1200" kern="0" dirty="0"/>
          </a:p>
          <a:p>
            <a:pPr>
              <a:buFont typeface="Arial" panose="020B0604020202020204" pitchFamily="34" charset="0"/>
              <a:buChar char="•"/>
            </a:pPr>
            <a:endParaRPr lang="en-US" sz="1200" kern="0" dirty="0">
              <a:latin typeface="Garamond" panose="02020404030301010803" pitchFamily="18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en-US" sz="1200" kern="0" dirty="0">
              <a:latin typeface="Garamond" panose="02020404030301010803" pitchFamily="18" charset="0"/>
            </a:endParaRPr>
          </a:p>
          <a:p>
            <a:endParaRPr lang="en-US" sz="1200" kern="0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04B4FFF-1468-40CB-AF23-55EEFD734EEA}"/>
              </a:ext>
            </a:extLst>
          </p:cNvPr>
          <p:cNvSpPr txBox="1">
            <a:spLocks/>
          </p:cNvSpPr>
          <p:nvPr/>
        </p:nvSpPr>
        <p:spPr bwMode="auto">
          <a:xfrm>
            <a:off x="800100" y="2110698"/>
            <a:ext cx="3513762" cy="308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Font typeface="Wingdings" pitchFamily="2" charset="2"/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2pPr>
            <a:lvl3pPr marL="4763" indent="9096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ts val="450"/>
              </a:spcBef>
              <a:buFont typeface="Arial" panose="020B0604020202020204" pitchFamily="34" charset="0"/>
              <a:buChar char="•"/>
            </a:pPr>
            <a:r>
              <a:rPr lang="en-US" sz="1200" kern="0" dirty="0">
                <a:latin typeface="Garamond" panose="02020404030301010803" pitchFamily="18" charset="0"/>
              </a:rPr>
              <a:t>What if the “pull request” contains some conflicts with the master branch</a:t>
            </a:r>
          </a:p>
          <a:p>
            <a:pPr lvl="1">
              <a:spcBef>
                <a:spcPts val="450"/>
              </a:spcBef>
              <a:buFont typeface="Arial" panose="020B0604020202020204" pitchFamily="34" charset="0"/>
              <a:buChar char="•"/>
            </a:pPr>
            <a:r>
              <a:rPr lang="en-US" sz="1200" kern="0" dirty="0">
                <a:latin typeface="Garamond" panose="02020404030301010803" pitchFamily="18" charset="0"/>
              </a:rPr>
              <a:t>Merge conflicts happen when you merge branches that have competing commits</a:t>
            </a:r>
          </a:p>
          <a:p>
            <a:pPr>
              <a:spcBef>
                <a:spcPts val="450"/>
              </a:spcBef>
              <a:buFont typeface="Arial" panose="020B0604020202020204" pitchFamily="34" charset="0"/>
              <a:buChar char="•"/>
            </a:pPr>
            <a:r>
              <a:rPr lang="en-US" sz="1200" kern="0" dirty="0">
                <a:latin typeface="Garamond" panose="02020404030301010803" pitchFamily="18" charset="0"/>
              </a:rPr>
              <a:t>Let’s say you want to merge </a:t>
            </a:r>
            <a:r>
              <a:rPr lang="en-US" sz="1200" kern="0" dirty="0" err="1">
                <a:latin typeface="Garamond" panose="02020404030301010803" pitchFamily="18" charset="0"/>
              </a:rPr>
              <a:t>test_branch</a:t>
            </a:r>
            <a:r>
              <a:rPr lang="en-US" sz="1200" kern="0" dirty="0">
                <a:latin typeface="Garamond" panose="02020404030301010803" pitchFamily="18" charset="0"/>
              </a:rPr>
              <a:t> to master but it returned an error saying “Resolve conflicts before merging </a:t>
            </a:r>
            <a:r>
              <a:rPr lang="en-US" sz="1200" kern="0" dirty="0" err="1">
                <a:latin typeface="Garamond" panose="02020404030301010803" pitchFamily="18" charset="0"/>
              </a:rPr>
              <a:t>test_branch</a:t>
            </a:r>
            <a:r>
              <a:rPr lang="en-US" sz="1200" kern="0" dirty="0">
                <a:latin typeface="Garamond" panose="02020404030301010803" pitchFamily="18" charset="0"/>
              </a:rPr>
              <a:t> to master.”</a:t>
            </a:r>
          </a:p>
          <a:p>
            <a:pPr>
              <a:spcBef>
                <a:spcPts val="450"/>
              </a:spcBef>
              <a:buFont typeface="Arial" panose="020B0604020202020204" pitchFamily="34" charset="0"/>
              <a:buChar char="•"/>
            </a:pPr>
            <a:r>
              <a:rPr lang="en-US" sz="1200" kern="0" dirty="0">
                <a:latin typeface="Garamond" panose="02020404030301010803" pitchFamily="18" charset="0"/>
              </a:rPr>
              <a:t>When this happens, just open the scripts where these conflicts emerged by selecting an appropriate editor (you can simply use the default software, in this case, STATA do file) </a:t>
            </a:r>
          </a:p>
          <a:p>
            <a:pPr>
              <a:spcBef>
                <a:spcPts val="450"/>
              </a:spcBef>
              <a:buFont typeface="Arial" panose="020B0604020202020204" pitchFamily="34" charset="0"/>
              <a:buChar char="•"/>
            </a:pPr>
            <a:r>
              <a:rPr lang="en-US" sz="1200" kern="0" dirty="0">
                <a:latin typeface="Garamond" panose="02020404030301010803" pitchFamily="18" charset="0"/>
              </a:rPr>
              <a:t>Conflicts are noted as “&lt;&lt;&lt;&lt;” and “&gt;&gt;&gt;&gt;”</a:t>
            </a:r>
          </a:p>
          <a:p>
            <a:pPr>
              <a:spcBef>
                <a:spcPts val="450"/>
              </a:spcBef>
              <a:buFont typeface="Arial" panose="020B0604020202020204" pitchFamily="34" charset="0"/>
              <a:buChar char="•"/>
            </a:pPr>
            <a:endParaRPr lang="en-US" sz="1200" kern="0" dirty="0">
              <a:latin typeface="Garamond" panose="02020404030301010803" pitchFamily="18" charset="0"/>
            </a:endParaRPr>
          </a:p>
          <a:p>
            <a:pPr>
              <a:spcBef>
                <a:spcPts val="450"/>
              </a:spcBef>
              <a:buFont typeface="Arial" panose="020B0604020202020204" pitchFamily="34" charset="0"/>
              <a:buChar char="•"/>
            </a:pPr>
            <a:endParaRPr lang="en-US" sz="1200" kern="0" dirty="0">
              <a:latin typeface="Garamond" panose="02020404030301010803" pitchFamily="18" charset="0"/>
            </a:endParaRPr>
          </a:p>
          <a:p>
            <a:endParaRPr lang="en-US" sz="1200" kern="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638D47D-4687-4BDB-A853-ED5066E0EDB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8090" t="7491" r="67472" b="60150"/>
          <a:stretch/>
        </p:blipFill>
        <p:spPr>
          <a:xfrm>
            <a:off x="4428162" y="1989334"/>
            <a:ext cx="3786027" cy="2819936"/>
          </a:xfrm>
          <a:prstGeom prst="rect">
            <a:avLst/>
          </a:prstGeom>
        </p:spPr>
      </p:pic>
      <p:sp>
        <p:nvSpPr>
          <p:cNvPr id="10" name="Oval 9">
            <a:extLst>
              <a:ext uri="{FF2B5EF4-FFF2-40B4-BE49-F238E27FC236}">
                <a16:creationId xmlns:a16="http://schemas.microsoft.com/office/drawing/2014/main" id="{FB8D62A1-837A-4C8B-9A4D-5556CB97F13C}"/>
              </a:ext>
            </a:extLst>
          </p:cNvPr>
          <p:cNvSpPr/>
          <p:nvPr/>
        </p:nvSpPr>
        <p:spPr bwMode="auto">
          <a:xfrm>
            <a:off x="4572000" y="3653748"/>
            <a:ext cx="1022279" cy="397482"/>
          </a:xfrm>
          <a:prstGeom prst="ellips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86916" indent="-86916" defTabSz="685800">
              <a:spcBef>
                <a:spcPct val="50000"/>
              </a:spcBef>
              <a:buFontTx/>
              <a:buChar char="•"/>
            </a:pPr>
            <a:endParaRPr lang="en-US" sz="975" b="0" dirty="0">
              <a:cs typeface="Times New Roman" pitchFamily="18" charset="0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33151984-1173-49CF-A6D3-9CA472430A68}"/>
              </a:ext>
            </a:extLst>
          </p:cNvPr>
          <p:cNvSpPr/>
          <p:nvPr/>
        </p:nvSpPr>
        <p:spPr bwMode="auto">
          <a:xfrm>
            <a:off x="4572000" y="4231509"/>
            <a:ext cx="1022279" cy="397482"/>
          </a:xfrm>
          <a:prstGeom prst="ellips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86916" indent="-86916" defTabSz="685800">
              <a:spcBef>
                <a:spcPct val="50000"/>
              </a:spcBef>
              <a:buFontTx/>
              <a:buChar char="•"/>
            </a:pPr>
            <a:endParaRPr lang="en-US" sz="975" b="0" dirty="0"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573658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59FB22-A36B-4DEE-A5E2-1B74FA8DE1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1300324"/>
            <a:ext cx="7772400" cy="422672"/>
          </a:xfrm>
        </p:spPr>
        <p:txBody>
          <a:bodyPr>
            <a:normAutofit/>
          </a:bodyPr>
          <a:lstStyle/>
          <a:p>
            <a:pPr>
              <a:spcBef>
                <a:spcPts val="450"/>
              </a:spcBef>
            </a:pPr>
            <a:r>
              <a:rPr lang="en-US" dirty="0">
                <a:latin typeface="Garamond" panose="02020404030301010803" pitchFamily="18" charset="0"/>
              </a:rPr>
              <a:t>How to resolve conflic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99355B1-9935-4AC4-BEEC-7193FD9708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40EC01-2D2E-4C25-A991-65C1A3C8AE89}" type="slidenum">
              <a:rPr lang="en-US" smtClean="0"/>
              <a:pPr/>
              <a:t>34</a:t>
            </a:fld>
            <a:endParaRPr lang="en-US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6AD2EC21-5DE8-4D46-8632-9481CF3C5A5D}"/>
              </a:ext>
            </a:extLst>
          </p:cNvPr>
          <p:cNvSpPr txBox="1">
            <a:spLocks/>
          </p:cNvSpPr>
          <p:nvPr/>
        </p:nvSpPr>
        <p:spPr bwMode="auto">
          <a:xfrm>
            <a:off x="685800" y="1996398"/>
            <a:ext cx="3513762" cy="308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Font typeface="Wingdings" pitchFamily="2" charset="2"/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2pPr>
            <a:lvl3pPr marL="4763" indent="9096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/>
            <a:endParaRPr lang="en-US" sz="1200" kern="0" dirty="0"/>
          </a:p>
          <a:p>
            <a:pPr>
              <a:buFont typeface="Arial" panose="020B0604020202020204" pitchFamily="34" charset="0"/>
              <a:buChar char="•"/>
            </a:pPr>
            <a:endParaRPr lang="en-US" sz="1200" kern="0" dirty="0">
              <a:latin typeface="Garamond" panose="02020404030301010803" pitchFamily="18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en-US" sz="1200" kern="0" dirty="0">
              <a:latin typeface="Garamond" panose="02020404030301010803" pitchFamily="18" charset="0"/>
            </a:endParaRPr>
          </a:p>
          <a:p>
            <a:endParaRPr lang="en-US" sz="1200" kern="0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04B4FFF-1468-40CB-AF23-55EEFD734EEA}"/>
              </a:ext>
            </a:extLst>
          </p:cNvPr>
          <p:cNvSpPr txBox="1">
            <a:spLocks/>
          </p:cNvSpPr>
          <p:nvPr/>
        </p:nvSpPr>
        <p:spPr bwMode="auto">
          <a:xfrm>
            <a:off x="800100" y="2110698"/>
            <a:ext cx="3513762" cy="308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Font typeface="Wingdings" pitchFamily="2" charset="2"/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2pPr>
            <a:lvl3pPr marL="4763" indent="9096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ts val="450"/>
              </a:spcBef>
              <a:buFont typeface="Arial" panose="020B0604020202020204" pitchFamily="34" charset="0"/>
              <a:buChar char="•"/>
            </a:pPr>
            <a:r>
              <a:rPr lang="en-US" sz="1200" kern="0" dirty="0">
                <a:latin typeface="Garamond" panose="02020404030301010803" pitchFamily="18" charset="0"/>
              </a:rPr>
              <a:t>What if the “pull request” contains some conflicts with the master branch</a:t>
            </a:r>
          </a:p>
          <a:p>
            <a:pPr lvl="1">
              <a:spcBef>
                <a:spcPts val="450"/>
              </a:spcBef>
              <a:buFont typeface="Arial" panose="020B0604020202020204" pitchFamily="34" charset="0"/>
              <a:buChar char="•"/>
            </a:pPr>
            <a:r>
              <a:rPr lang="en-US" sz="1200" kern="0" dirty="0">
                <a:latin typeface="Garamond" panose="02020404030301010803" pitchFamily="18" charset="0"/>
              </a:rPr>
              <a:t>Merge conflicts happen when you merge branches that have competing commits</a:t>
            </a:r>
          </a:p>
          <a:p>
            <a:pPr>
              <a:spcBef>
                <a:spcPts val="450"/>
              </a:spcBef>
              <a:buFont typeface="Arial" panose="020B0604020202020204" pitchFamily="34" charset="0"/>
              <a:buChar char="•"/>
            </a:pPr>
            <a:r>
              <a:rPr lang="en-US" sz="1200" kern="0" dirty="0">
                <a:latin typeface="Garamond" panose="02020404030301010803" pitchFamily="18" charset="0"/>
              </a:rPr>
              <a:t>Let’s say you want to merge </a:t>
            </a:r>
            <a:r>
              <a:rPr lang="en-US" sz="1200" kern="0" dirty="0" err="1">
                <a:latin typeface="Garamond" panose="02020404030301010803" pitchFamily="18" charset="0"/>
              </a:rPr>
              <a:t>test_branch</a:t>
            </a:r>
            <a:r>
              <a:rPr lang="en-US" sz="1200" kern="0" dirty="0">
                <a:latin typeface="Garamond" panose="02020404030301010803" pitchFamily="18" charset="0"/>
              </a:rPr>
              <a:t> to master but it returned an error saying “Resolve conflicts before merging </a:t>
            </a:r>
            <a:r>
              <a:rPr lang="en-US" sz="1200" kern="0" dirty="0" err="1">
                <a:latin typeface="Garamond" panose="02020404030301010803" pitchFamily="18" charset="0"/>
              </a:rPr>
              <a:t>test_branch</a:t>
            </a:r>
            <a:r>
              <a:rPr lang="en-US" sz="1200" kern="0" dirty="0">
                <a:latin typeface="Garamond" panose="02020404030301010803" pitchFamily="18" charset="0"/>
              </a:rPr>
              <a:t> to master.”</a:t>
            </a:r>
          </a:p>
          <a:p>
            <a:pPr>
              <a:spcBef>
                <a:spcPts val="450"/>
              </a:spcBef>
              <a:buFont typeface="Arial" panose="020B0604020202020204" pitchFamily="34" charset="0"/>
              <a:buChar char="•"/>
            </a:pPr>
            <a:r>
              <a:rPr lang="en-US" sz="1200" kern="0" dirty="0">
                <a:latin typeface="Garamond" panose="02020404030301010803" pitchFamily="18" charset="0"/>
              </a:rPr>
              <a:t>When this happens, just open the scripts where these conflicts emerged by selecting an appropriate editor (you can simply use the default software, in this case, STATA do file) </a:t>
            </a:r>
          </a:p>
          <a:p>
            <a:pPr>
              <a:spcBef>
                <a:spcPts val="450"/>
              </a:spcBef>
              <a:buFont typeface="Arial" panose="020B0604020202020204" pitchFamily="34" charset="0"/>
              <a:buChar char="•"/>
            </a:pPr>
            <a:r>
              <a:rPr lang="en-US" sz="1200" kern="0" dirty="0">
                <a:latin typeface="Garamond" panose="02020404030301010803" pitchFamily="18" charset="0"/>
              </a:rPr>
              <a:t>Conflicts are noted as “&lt;&lt;&lt;&lt;” and “&gt;&gt;&gt;&gt;”</a:t>
            </a:r>
          </a:p>
          <a:p>
            <a:pPr>
              <a:spcBef>
                <a:spcPts val="450"/>
              </a:spcBef>
              <a:buFont typeface="Arial" panose="020B0604020202020204" pitchFamily="34" charset="0"/>
              <a:buChar char="•"/>
            </a:pPr>
            <a:r>
              <a:rPr lang="en-US" sz="1200" kern="0" dirty="0">
                <a:latin typeface="Garamond" panose="02020404030301010803" pitchFamily="18" charset="0"/>
              </a:rPr>
              <a:t>Just clean up those conflict signs and save as a new file in the master branch</a:t>
            </a:r>
          </a:p>
          <a:p>
            <a:pPr lvl="1">
              <a:spcBef>
                <a:spcPts val="450"/>
              </a:spcBef>
              <a:buFont typeface="Arial" panose="020B0604020202020204" pitchFamily="34" charset="0"/>
              <a:buChar char="•"/>
            </a:pPr>
            <a:r>
              <a:rPr lang="en-US" sz="1200" kern="0" dirty="0">
                <a:latin typeface="Garamond" panose="02020404030301010803" pitchFamily="18" charset="0"/>
              </a:rPr>
              <a:t>See more on how to resolve conflicts </a:t>
            </a:r>
            <a:r>
              <a:rPr lang="en-US" sz="1200" kern="0" dirty="0">
                <a:latin typeface="Garamond" panose="02020404030301010803" pitchFamily="18" charset="0"/>
                <a:hlinkClick r:id="rId2"/>
              </a:rPr>
              <a:t>here</a:t>
            </a:r>
            <a:endParaRPr lang="en-US" sz="1200" kern="0" dirty="0">
              <a:latin typeface="Garamond" panose="02020404030301010803" pitchFamily="18" charset="0"/>
            </a:endParaRPr>
          </a:p>
          <a:p>
            <a:pPr>
              <a:spcBef>
                <a:spcPts val="450"/>
              </a:spcBef>
              <a:buFont typeface="Arial" panose="020B0604020202020204" pitchFamily="34" charset="0"/>
              <a:buChar char="•"/>
            </a:pPr>
            <a:endParaRPr lang="en-US" sz="1200" kern="0" dirty="0">
              <a:latin typeface="Garamond" panose="02020404030301010803" pitchFamily="18" charset="0"/>
            </a:endParaRPr>
          </a:p>
          <a:p>
            <a:pPr>
              <a:spcBef>
                <a:spcPts val="450"/>
              </a:spcBef>
              <a:buFont typeface="Arial" panose="020B0604020202020204" pitchFamily="34" charset="0"/>
              <a:buChar char="•"/>
            </a:pPr>
            <a:endParaRPr lang="en-US" sz="1200" kern="0" dirty="0">
              <a:latin typeface="Garamond" panose="02020404030301010803" pitchFamily="18" charset="0"/>
            </a:endParaRPr>
          </a:p>
          <a:p>
            <a:endParaRPr lang="en-US" sz="1200" kern="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7C976A9-97D8-4335-91DD-22DF3F5253A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8090" t="7340" r="58708" b="65843"/>
          <a:stretch/>
        </p:blipFill>
        <p:spPr>
          <a:xfrm>
            <a:off x="4369085" y="2079876"/>
            <a:ext cx="4500310" cy="2044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938312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59FB22-A36B-4DEE-A5E2-1B74FA8DE1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1300324"/>
            <a:ext cx="7772400" cy="422672"/>
          </a:xfrm>
        </p:spPr>
        <p:txBody>
          <a:bodyPr>
            <a:normAutofit/>
          </a:bodyPr>
          <a:lstStyle/>
          <a:p>
            <a:pPr>
              <a:spcBef>
                <a:spcPts val="450"/>
              </a:spcBef>
            </a:pPr>
            <a:r>
              <a:rPr lang="en-US" dirty="0">
                <a:latin typeface="Garamond" panose="02020404030301010803" pitchFamily="18" charset="0"/>
              </a:rPr>
              <a:t>How to resolve conflic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99355B1-9935-4AC4-BEEC-7193FD9708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40EC01-2D2E-4C25-A991-65C1A3C8AE89}" type="slidenum">
              <a:rPr lang="en-US" smtClean="0"/>
              <a:pPr/>
              <a:t>35</a:t>
            </a:fld>
            <a:endParaRPr lang="en-US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6AD2EC21-5DE8-4D46-8632-9481CF3C5A5D}"/>
              </a:ext>
            </a:extLst>
          </p:cNvPr>
          <p:cNvSpPr txBox="1">
            <a:spLocks/>
          </p:cNvSpPr>
          <p:nvPr/>
        </p:nvSpPr>
        <p:spPr bwMode="auto">
          <a:xfrm>
            <a:off x="685800" y="1996398"/>
            <a:ext cx="3513762" cy="308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Font typeface="Wingdings" pitchFamily="2" charset="2"/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2pPr>
            <a:lvl3pPr marL="4763" indent="9096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/>
            <a:endParaRPr lang="en-US" sz="1200" kern="0" dirty="0"/>
          </a:p>
          <a:p>
            <a:pPr>
              <a:buFont typeface="Arial" panose="020B0604020202020204" pitchFamily="34" charset="0"/>
              <a:buChar char="•"/>
            </a:pPr>
            <a:endParaRPr lang="en-US" sz="1200" kern="0" dirty="0">
              <a:latin typeface="Garamond" panose="02020404030301010803" pitchFamily="18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en-US" sz="1200" kern="0" dirty="0">
              <a:latin typeface="Garamond" panose="02020404030301010803" pitchFamily="18" charset="0"/>
            </a:endParaRPr>
          </a:p>
          <a:p>
            <a:endParaRPr lang="en-US" sz="1200" kern="0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04B4FFF-1468-40CB-AF23-55EEFD734EEA}"/>
              </a:ext>
            </a:extLst>
          </p:cNvPr>
          <p:cNvSpPr txBox="1">
            <a:spLocks/>
          </p:cNvSpPr>
          <p:nvPr/>
        </p:nvSpPr>
        <p:spPr bwMode="auto">
          <a:xfrm>
            <a:off x="800100" y="2110698"/>
            <a:ext cx="3513762" cy="308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Font typeface="Wingdings" pitchFamily="2" charset="2"/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2pPr>
            <a:lvl3pPr marL="4763" indent="9096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ts val="450"/>
              </a:spcBef>
              <a:buFont typeface="Arial" panose="020B0604020202020204" pitchFamily="34" charset="0"/>
              <a:buChar char="•"/>
            </a:pPr>
            <a:r>
              <a:rPr lang="en-US" sz="1200" kern="0" dirty="0">
                <a:latin typeface="Garamond" panose="02020404030301010803" pitchFamily="18" charset="0"/>
              </a:rPr>
              <a:t>What if the “pull request” contains some conflicts with the master branch</a:t>
            </a:r>
          </a:p>
          <a:p>
            <a:pPr lvl="1">
              <a:spcBef>
                <a:spcPts val="450"/>
              </a:spcBef>
              <a:buFont typeface="Arial" panose="020B0604020202020204" pitchFamily="34" charset="0"/>
              <a:buChar char="•"/>
            </a:pPr>
            <a:r>
              <a:rPr lang="en-US" sz="1200" kern="0" dirty="0">
                <a:latin typeface="Garamond" panose="02020404030301010803" pitchFamily="18" charset="0"/>
              </a:rPr>
              <a:t>Merge conflicts happen when you merge branches that have competing commits</a:t>
            </a:r>
          </a:p>
          <a:p>
            <a:pPr>
              <a:spcBef>
                <a:spcPts val="450"/>
              </a:spcBef>
              <a:buFont typeface="Arial" panose="020B0604020202020204" pitchFamily="34" charset="0"/>
              <a:buChar char="•"/>
            </a:pPr>
            <a:r>
              <a:rPr lang="en-US" sz="1200" kern="0" dirty="0">
                <a:latin typeface="Garamond" panose="02020404030301010803" pitchFamily="18" charset="0"/>
              </a:rPr>
              <a:t>Let’s say you want to merge </a:t>
            </a:r>
            <a:r>
              <a:rPr lang="en-US" sz="1200" kern="0" dirty="0" err="1">
                <a:latin typeface="Garamond" panose="02020404030301010803" pitchFamily="18" charset="0"/>
              </a:rPr>
              <a:t>test_branch</a:t>
            </a:r>
            <a:r>
              <a:rPr lang="en-US" sz="1200" kern="0" dirty="0">
                <a:latin typeface="Garamond" panose="02020404030301010803" pitchFamily="18" charset="0"/>
              </a:rPr>
              <a:t> to master but it returned an error saying “Resolve conflicts before merging </a:t>
            </a:r>
            <a:r>
              <a:rPr lang="en-US" sz="1200" kern="0" dirty="0" err="1">
                <a:latin typeface="Garamond" panose="02020404030301010803" pitchFamily="18" charset="0"/>
              </a:rPr>
              <a:t>test_branch</a:t>
            </a:r>
            <a:r>
              <a:rPr lang="en-US" sz="1200" kern="0" dirty="0">
                <a:latin typeface="Garamond" panose="02020404030301010803" pitchFamily="18" charset="0"/>
              </a:rPr>
              <a:t> to master.”</a:t>
            </a:r>
          </a:p>
          <a:p>
            <a:pPr>
              <a:spcBef>
                <a:spcPts val="450"/>
              </a:spcBef>
              <a:buFont typeface="Arial" panose="020B0604020202020204" pitchFamily="34" charset="0"/>
              <a:buChar char="•"/>
            </a:pPr>
            <a:r>
              <a:rPr lang="en-US" sz="1200" kern="0" dirty="0">
                <a:latin typeface="Garamond" panose="02020404030301010803" pitchFamily="18" charset="0"/>
              </a:rPr>
              <a:t>When this happens, just open the scripts where these conflicts emerged by selecting an appropriate editor (you can simply use the default software, in this case, STATA do file) </a:t>
            </a:r>
          </a:p>
          <a:p>
            <a:pPr>
              <a:spcBef>
                <a:spcPts val="450"/>
              </a:spcBef>
              <a:buFont typeface="Arial" panose="020B0604020202020204" pitchFamily="34" charset="0"/>
              <a:buChar char="•"/>
            </a:pPr>
            <a:r>
              <a:rPr lang="en-US" sz="1200" kern="0" dirty="0">
                <a:latin typeface="Garamond" panose="02020404030301010803" pitchFamily="18" charset="0"/>
              </a:rPr>
              <a:t>Conflicts are noted as “&lt;&lt;&lt;&lt;” and “&gt;&gt;&gt;&gt;”</a:t>
            </a:r>
          </a:p>
          <a:p>
            <a:pPr>
              <a:spcBef>
                <a:spcPts val="450"/>
              </a:spcBef>
              <a:buFont typeface="Arial" panose="020B0604020202020204" pitchFamily="34" charset="0"/>
              <a:buChar char="•"/>
            </a:pPr>
            <a:r>
              <a:rPr lang="en-US" sz="1200" kern="0" dirty="0">
                <a:latin typeface="Garamond" panose="02020404030301010803" pitchFamily="18" charset="0"/>
              </a:rPr>
              <a:t>Just clean up those conflict signs and save as a new file in the master branch</a:t>
            </a:r>
          </a:p>
          <a:p>
            <a:pPr>
              <a:spcBef>
                <a:spcPts val="450"/>
              </a:spcBef>
              <a:buFont typeface="Arial" panose="020B0604020202020204" pitchFamily="34" charset="0"/>
              <a:buChar char="•"/>
            </a:pPr>
            <a:r>
              <a:rPr lang="en-US" sz="1200" kern="0" dirty="0">
                <a:latin typeface="Garamond" panose="02020404030301010803" pitchFamily="18" charset="0"/>
              </a:rPr>
              <a:t>Now you can commit merge</a:t>
            </a:r>
          </a:p>
          <a:p>
            <a:pPr>
              <a:spcBef>
                <a:spcPts val="450"/>
              </a:spcBef>
              <a:buFont typeface="Arial" panose="020B0604020202020204" pitchFamily="34" charset="0"/>
              <a:buChar char="•"/>
            </a:pPr>
            <a:endParaRPr lang="en-US" sz="1200" kern="0" dirty="0">
              <a:latin typeface="Garamond" panose="02020404030301010803" pitchFamily="18" charset="0"/>
            </a:endParaRPr>
          </a:p>
          <a:p>
            <a:pPr>
              <a:spcBef>
                <a:spcPts val="450"/>
              </a:spcBef>
              <a:buFont typeface="Arial" panose="020B0604020202020204" pitchFamily="34" charset="0"/>
              <a:buChar char="•"/>
            </a:pPr>
            <a:endParaRPr lang="en-US" sz="1200" kern="0" dirty="0">
              <a:latin typeface="Garamond" panose="02020404030301010803" pitchFamily="18" charset="0"/>
            </a:endParaRPr>
          </a:p>
          <a:p>
            <a:endParaRPr lang="en-US" sz="1200" kern="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389C656-0114-49C1-9FF6-71B73218EE8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5029" t="17852" r="10336" b="12509"/>
          <a:stretch/>
        </p:blipFill>
        <p:spPr>
          <a:xfrm>
            <a:off x="4313862" y="2121739"/>
            <a:ext cx="4678593" cy="28354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174785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ACDA44-19F4-3831-BB0E-4EAF4E371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Google Earth Engine (with Python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75F9406-8D7D-862D-8F39-C555E94AA688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marL="285750" indent="-285750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sz="1600" kern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oogle Earth Engine combines a multi-petabyte catalog of satellite imagery and geospatial datasets with planetary-scale analysis capabilities.</a:t>
            </a:r>
          </a:p>
          <a:p>
            <a:pPr marL="285750" indent="-285750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sz="1600" kern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 segment of the training introduces you to GEE and how to work with it through </a:t>
            </a:r>
            <a:r>
              <a:rPr lang="en-US" sz="1600" kern="12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eemap</a:t>
            </a:r>
            <a:r>
              <a:rPr lang="en-US" sz="1600" kern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package in Python</a:t>
            </a:r>
          </a:p>
          <a:p>
            <a:pPr marL="285750" indent="-285750">
              <a:spcBef>
                <a:spcPct val="0"/>
              </a:spcBef>
              <a:buFont typeface="Arial" panose="020B0604020202020204" pitchFamily="34" charset="0"/>
              <a:buChar char="•"/>
            </a:pPr>
            <a:endParaRPr lang="en-US" sz="1600" kern="1200" dirty="0">
              <a:solidFill>
                <a:schemeClr val="tx1"/>
              </a:solidFill>
              <a:latin typeface="Trebuchet MS" panose="020B0603020202020204" pitchFamily="34" charset="0"/>
              <a:cs typeface="Arial" panose="020B0604020202020204" pitchFamily="34" charset="0"/>
            </a:endParaRPr>
          </a:p>
          <a:p>
            <a:pPr marL="285750" indent="-285750">
              <a:spcBef>
                <a:spcPct val="0"/>
              </a:spcBef>
              <a:buFont typeface="Arial" panose="020B0604020202020204" pitchFamily="34" charset="0"/>
              <a:buChar char="•"/>
            </a:pPr>
            <a:endParaRPr lang="en-US" sz="1600" kern="1200" dirty="0">
              <a:solidFill>
                <a:schemeClr val="tx1"/>
              </a:solidFill>
              <a:latin typeface="Trebuchet MS" panose="020B0603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35E98C3-37D8-6656-510B-B3C7D936A6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E3F193E-7934-C047-BA4D-684DE2FEEC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C0524-9AED-456C-BADC-F0F6F26BD804}" type="slidenum">
              <a:rPr lang="en-US" altLang="en-US" smtClean="0"/>
              <a:pPr/>
              <a:t>3</a:t>
            </a:fld>
            <a:endParaRPr lang="en-US" altLang="en-US"/>
          </a:p>
        </p:txBody>
      </p:sp>
      <p:pic>
        <p:nvPicPr>
          <p:cNvPr id="1026" name="Picture 2" descr="Google Earth Engine">
            <a:extLst>
              <a:ext uri="{FF2B5EF4-FFF2-40B4-BE49-F238E27FC236}">
                <a16:creationId xmlns:a16="http://schemas.microsoft.com/office/drawing/2014/main" id="{D3F05243-0C3F-7DFB-8B4C-D7F4CFC810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1363" y="3760931"/>
            <a:ext cx="2068132" cy="19627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Remote Sensing | Free Full-Text | Google Earth Engine Open-Source Code for  Land Surface Temperature Estimation from the Landsat Series">
            <a:extLst>
              <a:ext uri="{FF2B5EF4-FFF2-40B4-BE49-F238E27FC236}">
                <a16:creationId xmlns:a16="http://schemas.microsoft.com/office/drawing/2014/main" id="{65001DDC-AB14-99F2-B92D-2C2788E217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56427" y="2752693"/>
            <a:ext cx="4494357" cy="3603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4706775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38AFF2-C090-6C96-60BC-DC6D5F2CC7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What is GEE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744B89-B604-8AB8-04C8-3A65812A1130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en-US" b="0" i="0" u="none" strike="noStrike" dirty="0">
              <a:solidFill>
                <a:srgbClr val="FFFFFF"/>
              </a:solidFill>
              <a:effectLst/>
              <a:latin typeface="YouTube Noto"/>
              <a:hlinkClick r:id="rId2"/>
            </a:endParaRPr>
          </a:p>
          <a:p>
            <a:endParaRPr lang="en-US" dirty="0">
              <a:solidFill>
                <a:srgbClr val="FFFFFF"/>
              </a:solidFill>
              <a:latin typeface="YouTube Noto"/>
              <a:hlinkClick r:id="rId2"/>
            </a:endParaRPr>
          </a:p>
          <a:p>
            <a:endParaRPr lang="en-US" b="0" i="0" u="none" strike="noStrike" dirty="0">
              <a:solidFill>
                <a:srgbClr val="FFFFFF"/>
              </a:solidFill>
              <a:effectLst/>
              <a:latin typeface="YouTube Noto"/>
              <a:hlinkClick r:id="rId2"/>
            </a:endParaRPr>
          </a:p>
          <a:p>
            <a:endParaRPr lang="en-US" dirty="0">
              <a:solidFill>
                <a:srgbClr val="FFFFFF"/>
              </a:solidFill>
              <a:latin typeface="YouTube Noto"/>
              <a:hlinkClick r:id="rId2"/>
            </a:endParaRPr>
          </a:p>
          <a:p>
            <a:pPr algn="ctr"/>
            <a:r>
              <a:rPr lang="en-US" b="0" i="0" u="none" strike="noStrike" dirty="0">
                <a:solidFill>
                  <a:srgbClr val="FFFFFF"/>
                </a:solidFill>
                <a:effectLst/>
                <a:latin typeface="YouTube Noto"/>
                <a:hlinkClick r:id="rId2"/>
              </a:rPr>
              <a:t>https://youtu.be/gKGOeTFHnKY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9ADC3DC-F2D3-FE05-7A62-5E5530DCF7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B58D2A-2D84-912B-6970-C293764595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C0524-9AED-456C-BADC-F0F6F26BD804}" type="slidenum">
              <a:rPr lang="en-US" altLang="en-US" smtClean="0"/>
              <a:pPr/>
              <a:t>4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92035613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F0FC2B-B72F-A007-80EA-C5341F8303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Let’s sign up for GE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0C14624-C7DE-3B9B-4197-BCC5A809BAD3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ign in using your own Gmail on Google Chrom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lect “Get started” on the GEE </a:t>
            </a:r>
            <a:r>
              <a:rPr lang="en-US" dirty="0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ebsite</a:t>
            </a:r>
            <a:r>
              <a:rPr lang="en-US" dirty="0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ollow instructions to create your own GEE project </a:t>
            </a:r>
          </a:p>
          <a:p>
            <a:pPr>
              <a:buFont typeface="Arial" panose="020B0604020202020204" pitchFamily="34" charset="0"/>
              <a:buChar char="•"/>
            </a:pPr>
            <a:endParaRPr lang="en-US" dirty="0"/>
          </a:p>
          <a:p>
            <a:pPr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5E6F96-4BE0-8815-D38B-EE18221F19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1D7B0C2-2378-C114-7FAF-2E70197483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C0524-9AED-456C-BADC-F0F6F26BD804}" type="slidenum">
              <a:rPr lang="en-US" altLang="en-US" smtClean="0"/>
              <a:pPr/>
              <a:t>5</a:t>
            </a:fld>
            <a:endParaRPr lang="en-US" alt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34E32B4-A841-023D-54E2-C0F7198FAA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8293" y="3125978"/>
            <a:ext cx="7444509" cy="2836382"/>
          </a:xfrm>
          <a:prstGeom prst="rect">
            <a:avLst/>
          </a:prstGeom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3D1787CA-C063-7B40-0DD5-3BFF52899FAE}"/>
              </a:ext>
            </a:extLst>
          </p:cNvPr>
          <p:cNvSpPr/>
          <p:nvPr/>
        </p:nvSpPr>
        <p:spPr bwMode="auto">
          <a:xfrm>
            <a:off x="7873961" y="3027121"/>
            <a:ext cx="683491" cy="366757"/>
          </a:xfrm>
          <a:prstGeom prst="ellips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718234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084859-E6BB-8FD6-D354-031003A96F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Setting things up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DEBF080-9AF4-F7EC-54CA-94D42978DBAB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 use GEE through Python, you first need to install </a:t>
            </a:r>
            <a:r>
              <a:rPr lang="en-US" dirty="0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naconda</a:t>
            </a:r>
            <a:r>
              <a:rPr lang="en-US" dirty="0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Python, and </a:t>
            </a:r>
            <a:r>
              <a:rPr lang="en-US" dirty="0" err="1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eemap</a:t>
            </a:r>
            <a:r>
              <a:rPr lang="en-US" dirty="0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packag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naconda: a free, open-source distribution of Python and R for data science and machine learning. It includes over 250 pre-installed packages, such as SciPy, </a:t>
            </a:r>
            <a:r>
              <a:rPr lang="en-US" dirty="0" err="1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lplotlib</a:t>
            </a:r>
            <a:r>
              <a:rPr lang="en-US" dirty="0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Pandas, and NumPy, which are used in scientific computing. 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ython: </a:t>
            </a:r>
            <a:r>
              <a:rPr lang="en-US" b="0" i="0" dirty="0">
                <a:solidFill>
                  <a:srgbClr val="1F1F1F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 computer programming language often used to build websites and software, automate tasks, and conduct data analysi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 err="1">
                <a:solidFill>
                  <a:srgbClr val="1F1F1F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4"/>
              </a:rPr>
              <a:t>geemap</a:t>
            </a:r>
            <a:r>
              <a:rPr lang="en-US" dirty="0">
                <a:solidFill>
                  <a:srgbClr val="1F1F1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package:  Python package for interactive geospatial analysis and visualization with Google Earth Engine (GEE)</a:t>
            </a:r>
            <a:endParaRPr lang="en-US" dirty="0">
              <a:solidFill>
                <a:schemeClr val="tx2">
                  <a:lumMod val="95000"/>
                  <a:lumOff val="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E925ABF-40AB-47D3-AF1A-3B766275F7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3773953-4A14-FF5A-87BA-7A1406491F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C0524-9AED-456C-BADC-F0F6F26BD804}" type="slidenum">
              <a:rPr lang="en-US" altLang="en-US" smtClean="0"/>
              <a:pPr/>
              <a:t>6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27233982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084859-E6BB-8FD6-D354-031003A96F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Get Python and </a:t>
            </a:r>
            <a:r>
              <a:rPr lang="en-US" b="1" dirty="0" err="1">
                <a:latin typeface="Calibri" panose="020F0502020204030204" pitchFamily="34" charset="0"/>
                <a:cs typeface="Calibri" panose="020F0502020204030204" pitchFamily="34" charset="0"/>
              </a:rPr>
              <a:t>geemap</a:t>
            </a:r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 Packag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DEBF080-9AF4-F7EC-54CA-94D42978DBAB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43401" y="1460500"/>
            <a:ext cx="8440305" cy="1421245"/>
          </a:xfrm>
        </p:spPr>
        <p:txBody>
          <a:bodyPr>
            <a:normAutofit fontScale="92500" lnSpcReduction="10000"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 use GEE through Python, you first need to install </a:t>
            </a:r>
            <a:r>
              <a:rPr lang="en-US" dirty="0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naconda</a:t>
            </a:r>
            <a:r>
              <a:rPr lang="en-US" dirty="0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Python, and </a:t>
            </a:r>
            <a:r>
              <a:rPr lang="en-US" dirty="0" err="1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eemap</a:t>
            </a:r>
            <a:r>
              <a:rPr lang="en-US" dirty="0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packag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fter Anaconda is stalled, go to Anaconda Prompt, which will open a new window like below. You can type in “Anaconda Prompt” in your Search bar and it should appear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E925ABF-40AB-47D3-AF1A-3B766275F7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3773953-4A14-FF5A-87BA-7A1406491F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C0524-9AED-456C-BADC-F0F6F26BD804}" type="slidenum">
              <a:rPr lang="en-US" altLang="en-US" smtClean="0"/>
              <a:pPr/>
              <a:t>7</a:t>
            </a:fld>
            <a:endParaRPr lang="en-US" alt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39E9519-9AE0-56F5-DC35-A8AA7D472E7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88987" y="3263260"/>
            <a:ext cx="5548479" cy="30930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392681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084859-E6BB-8FD6-D354-031003A96F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Get Python and </a:t>
            </a:r>
            <a:r>
              <a:rPr lang="en-US" b="1" dirty="0" err="1">
                <a:latin typeface="Calibri" panose="020F0502020204030204" pitchFamily="34" charset="0"/>
                <a:cs typeface="Calibri" panose="020F0502020204030204" pitchFamily="34" charset="0"/>
              </a:rPr>
              <a:t>geemap</a:t>
            </a:r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 Packag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DEBF080-9AF4-F7EC-54CA-94D42978DBAB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Copy and paste the following commands into the prompt: </a:t>
            </a:r>
          </a:p>
          <a:p>
            <a:pPr marL="272034" lvl="2" indent="0">
              <a:buNone/>
            </a:pPr>
            <a:endParaRPr lang="en-US" b="0" i="0" dirty="0">
              <a:solidFill>
                <a:srgbClr val="36464E"/>
              </a:solidFill>
              <a:effectLst/>
              <a:highlight>
                <a:srgbClr val="C0C0C0"/>
              </a:highlight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72034" lvl="2" indent="0">
              <a:buNone/>
            </a:pPr>
            <a:r>
              <a:rPr lang="en-US" b="0" i="0" dirty="0" err="1">
                <a:solidFill>
                  <a:srgbClr val="36464E"/>
                </a:solidFill>
                <a:effectLst/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conda</a:t>
            </a:r>
            <a:r>
              <a:rPr lang="en-US" b="0" i="0" dirty="0">
                <a:solidFill>
                  <a:srgbClr val="36464E"/>
                </a:solidFill>
                <a:effectLst/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 create -n gee </a:t>
            </a:r>
            <a:r>
              <a:rPr lang="en-US" b="0" i="0" dirty="0">
                <a:effectLst/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python=3</a:t>
            </a:r>
            <a:r>
              <a:rPr lang="en-US" b="0" i="0" dirty="0">
                <a:solidFill>
                  <a:srgbClr val="36464E"/>
                </a:solidFill>
                <a:effectLst/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.11</a:t>
            </a:r>
          </a:p>
          <a:p>
            <a:pPr marL="272034" lvl="2" indent="0">
              <a:buNone/>
            </a:pPr>
            <a:r>
              <a:rPr lang="en-US" b="0" i="0" dirty="0" err="1">
                <a:solidFill>
                  <a:srgbClr val="36464E"/>
                </a:solidFill>
                <a:effectLst/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conda</a:t>
            </a:r>
            <a:r>
              <a:rPr lang="en-US" b="0" i="0" dirty="0">
                <a:solidFill>
                  <a:srgbClr val="36464E"/>
                </a:solidFill>
                <a:effectLst/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 activate gee </a:t>
            </a:r>
          </a:p>
          <a:p>
            <a:pPr marL="272034" lvl="2" indent="0">
              <a:buNone/>
            </a:pPr>
            <a:r>
              <a:rPr lang="en-US" b="0" i="0" dirty="0" err="1">
                <a:solidFill>
                  <a:srgbClr val="36464E"/>
                </a:solidFill>
                <a:effectLst/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conda</a:t>
            </a:r>
            <a:r>
              <a:rPr lang="en-US" b="0" i="0" dirty="0">
                <a:solidFill>
                  <a:srgbClr val="36464E"/>
                </a:solidFill>
                <a:effectLst/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 install -n base mamba -c </a:t>
            </a:r>
            <a:r>
              <a:rPr lang="en-US" b="0" i="0" dirty="0" err="1">
                <a:solidFill>
                  <a:srgbClr val="36464E"/>
                </a:solidFill>
                <a:effectLst/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conda</a:t>
            </a:r>
            <a:r>
              <a:rPr lang="en-US" b="0" i="0" dirty="0">
                <a:solidFill>
                  <a:srgbClr val="36464E"/>
                </a:solidFill>
                <a:effectLst/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-forge </a:t>
            </a:r>
          </a:p>
          <a:p>
            <a:pPr marL="272034" lvl="2" indent="0">
              <a:buNone/>
            </a:pPr>
            <a:r>
              <a:rPr lang="en-US" b="0" i="0" dirty="0">
                <a:solidFill>
                  <a:srgbClr val="36464E"/>
                </a:solidFill>
                <a:effectLst/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mamba install </a:t>
            </a:r>
            <a:r>
              <a:rPr lang="en-US" b="0" i="0" dirty="0" err="1">
                <a:solidFill>
                  <a:srgbClr val="36464E"/>
                </a:solidFill>
                <a:effectLst/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geemap</a:t>
            </a:r>
            <a:r>
              <a:rPr lang="en-US" b="0" i="0" dirty="0">
                <a:solidFill>
                  <a:srgbClr val="36464E"/>
                </a:solidFill>
                <a:effectLst/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 -c </a:t>
            </a:r>
            <a:r>
              <a:rPr lang="en-US" b="0" i="0" dirty="0" err="1">
                <a:solidFill>
                  <a:srgbClr val="36464E"/>
                </a:solidFill>
                <a:effectLst/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conda</a:t>
            </a:r>
            <a:r>
              <a:rPr lang="en-US" b="0" i="0" dirty="0">
                <a:solidFill>
                  <a:srgbClr val="36464E"/>
                </a:solidFill>
                <a:effectLst/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-forge </a:t>
            </a:r>
          </a:p>
          <a:p>
            <a:pPr marL="272034" lvl="2" indent="0">
              <a:buNone/>
            </a:pPr>
            <a:r>
              <a:rPr lang="en-US" b="0" i="0" dirty="0">
                <a:solidFill>
                  <a:srgbClr val="36464E"/>
                </a:solidFill>
                <a:effectLst/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mamba install </a:t>
            </a:r>
            <a:r>
              <a:rPr lang="en-US" b="0" i="0" dirty="0" err="1">
                <a:solidFill>
                  <a:srgbClr val="36464E"/>
                </a:solidFill>
                <a:effectLst/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geopandas</a:t>
            </a:r>
            <a:r>
              <a:rPr lang="en-US" b="0" i="0" dirty="0">
                <a:solidFill>
                  <a:srgbClr val="36464E"/>
                </a:solidFill>
                <a:effectLst/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i="0" dirty="0" err="1">
                <a:solidFill>
                  <a:srgbClr val="36464E"/>
                </a:solidFill>
                <a:effectLst/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localtileserver</a:t>
            </a:r>
            <a:r>
              <a:rPr lang="en-US" b="0" i="0" dirty="0">
                <a:solidFill>
                  <a:srgbClr val="36464E"/>
                </a:solidFill>
                <a:effectLst/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 -c </a:t>
            </a:r>
            <a:r>
              <a:rPr lang="en-US" b="0" i="0" dirty="0" err="1">
                <a:solidFill>
                  <a:srgbClr val="36464E"/>
                </a:solidFill>
                <a:effectLst/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conda</a:t>
            </a:r>
            <a:r>
              <a:rPr lang="en-US" b="0" i="0" dirty="0">
                <a:solidFill>
                  <a:srgbClr val="36464E"/>
                </a:solidFill>
                <a:effectLst/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-forge</a:t>
            </a:r>
          </a:p>
          <a:p>
            <a:pPr marL="272034" lvl="2" indent="0">
              <a:buNone/>
            </a:pPr>
            <a:r>
              <a:rPr lang="en-US" dirty="0">
                <a:solidFill>
                  <a:srgbClr val="36464E"/>
                </a:solidFill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pip install </a:t>
            </a:r>
            <a:r>
              <a:rPr lang="en-US" dirty="0" err="1">
                <a:solidFill>
                  <a:srgbClr val="36464E"/>
                </a:solidFill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geemap</a:t>
            </a:r>
            <a:endParaRPr lang="en-US" dirty="0">
              <a:solidFill>
                <a:srgbClr val="36464E"/>
              </a:solidFill>
              <a:highlight>
                <a:srgbClr val="C0C0C0"/>
              </a:highlight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72034" lvl="2" indent="0">
              <a:buNone/>
            </a:pPr>
            <a:r>
              <a:rPr lang="en-US" b="0" i="0" dirty="0">
                <a:solidFill>
                  <a:srgbClr val="36464E"/>
                </a:solidFill>
                <a:effectLst/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pip install --upgrade </a:t>
            </a:r>
            <a:r>
              <a:rPr lang="en-US" b="0" i="0" dirty="0" err="1">
                <a:solidFill>
                  <a:srgbClr val="36464E"/>
                </a:solidFill>
                <a:effectLst/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jupyter</a:t>
            </a:r>
            <a:endParaRPr lang="en-US" b="0" i="0" dirty="0">
              <a:solidFill>
                <a:srgbClr val="36464E"/>
              </a:solidFill>
              <a:effectLst/>
              <a:highlight>
                <a:srgbClr val="C0C0C0"/>
              </a:highlight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72034" lvl="2" indent="0">
              <a:buNone/>
            </a:pPr>
            <a:endParaRPr lang="en-US" dirty="0">
              <a:highlight>
                <a:srgbClr val="C0C0C0"/>
              </a:highligh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E925ABF-40AB-47D3-AF1A-3B766275F7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3773953-4A14-FF5A-87BA-7A1406491F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C0524-9AED-456C-BADC-F0F6F26BD804}" type="slidenum">
              <a:rPr lang="en-US" altLang="en-US" smtClean="0"/>
              <a:pPr/>
              <a:t>8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5037728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g7PgNJyxLQXI7mt_eoYcA"/>
</p:tagLst>
</file>

<file path=ppt/theme/theme1.xml><?xml version="1.0" encoding="utf-8"?>
<a:theme xmlns:a="http://schemas.openxmlformats.org/drawingml/2006/main" name="WBG-Any_Logo">
  <a:themeElements>
    <a:clrScheme name="World Bank">
      <a:dk1>
        <a:srgbClr val="002345"/>
      </a:dk1>
      <a:lt1>
        <a:sysClr val="window" lastClr="FFFFFF"/>
      </a:lt1>
      <a:dk2>
        <a:srgbClr val="000000"/>
      </a:dk2>
      <a:lt2>
        <a:srgbClr val="00ADE4"/>
      </a:lt2>
      <a:accent1>
        <a:srgbClr val="000000"/>
      </a:accent1>
      <a:accent2>
        <a:srgbClr val="7F7F7F"/>
      </a:accent2>
      <a:accent3>
        <a:srgbClr val="00ADE4"/>
      </a:accent3>
      <a:accent4>
        <a:srgbClr val="021F43"/>
      </a:accent4>
      <a:accent5>
        <a:srgbClr val="006450"/>
      </a:accent5>
      <a:accent6>
        <a:srgbClr val="F78D28"/>
      </a:accent6>
      <a:hlink>
        <a:srgbClr val="00AB51"/>
      </a:hlink>
      <a:folHlink>
        <a:srgbClr val="614776"/>
      </a:folHlink>
    </a:clrScheme>
    <a:fontScheme name="World Bank Arial">
      <a:majorFont>
        <a:latin typeface="Arial Bold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IEP standard preso.pot  -  Compatibility Mode" id="{D9F6106A-3E29-4543-9BCA-55477479B777}" vid="{9C7DD70D-EBD0-43CE-AD1D-C73905EFC80E}"/>
    </a:ext>
  </a:extLst>
</a:theme>
</file>

<file path=ppt/theme/theme2.xml><?xml version="1.0" encoding="utf-8"?>
<a:theme xmlns:a="http://schemas.openxmlformats.org/drawingml/2006/main" name="Full Page Interior">
  <a:themeElements>
    <a:clrScheme name="World Bank">
      <a:dk1>
        <a:srgbClr val="002345"/>
      </a:dk1>
      <a:lt1>
        <a:sysClr val="window" lastClr="FFFFFF"/>
      </a:lt1>
      <a:dk2>
        <a:srgbClr val="000000"/>
      </a:dk2>
      <a:lt2>
        <a:srgbClr val="00ADE4"/>
      </a:lt2>
      <a:accent1>
        <a:srgbClr val="000000"/>
      </a:accent1>
      <a:accent2>
        <a:srgbClr val="7F7F7F"/>
      </a:accent2>
      <a:accent3>
        <a:srgbClr val="00ADE4"/>
      </a:accent3>
      <a:accent4>
        <a:srgbClr val="021F43"/>
      </a:accent4>
      <a:accent5>
        <a:srgbClr val="006450"/>
      </a:accent5>
      <a:accent6>
        <a:srgbClr val="F78D28"/>
      </a:accent6>
      <a:hlink>
        <a:srgbClr val="00AB51"/>
      </a:hlink>
      <a:folHlink>
        <a:srgbClr val="614776"/>
      </a:folHlink>
    </a:clrScheme>
    <a:fontScheme name="World Bank Arial">
      <a:majorFont>
        <a:latin typeface="Arial Bold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IEP standard preso.pot  -  Compatibility Mode" id="{D9F6106A-3E29-4543-9BCA-55477479B777}" vid="{4F10486E-EAFD-42EB-A5C1-5F48425E5E7B}"/>
    </a:ext>
  </a:extLst>
</a:theme>
</file>

<file path=ppt/theme/theme3.xml><?xml version="1.0" encoding="utf-8"?>
<a:theme xmlns:a="http://schemas.openxmlformats.org/drawingml/2006/main" name="1_Full Page Interior">
  <a:themeElements>
    <a:clrScheme name="World Bank">
      <a:dk1>
        <a:srgbClr val="002345"/>
      </a:dk1>
      <a:lt1>
        <a:sysClr val="window" lastClr="FFFFFF"/>
      </a:lt1>
      <a:dk2>
        <a:srgbClr val="000000"/>
      </a:dk2>
      <a:lt2>
        <a:srgbClr val="00ADE4"/>
      </a:lt2>
      <a:accent1>
        <a:srgbClr val="000000"/>
      </a:accent1>
      <a:accent2>
        <a:srgbClr val="7F7F7F"/>
      </a:accent2>
      <a:accent3>
        <a:srgbClr val="00ADE4"/>
      </a:accent3>
      <a:accent4>
        <a:srgbClr val="021F43"/>
      </a:accent4>
      <a:accent5>
        <a:srgbClr val="006450"/>
      </a:accent5>
      <a:accent6>
        <a:srgbClr val="F78D28"/>
      </a:accent6>
      <a:hlink>
        <a:srgbClr val="00AB51"/>
      </a:hlink>
      <a:folHlink>
        <a:srgbClr val="614776"/>
      </a:folHlink>
    </a:clrScheme>
    <a:fontScheme name="World Bank Arial">
      <a:majorFont>
        <a:latin typeface="Arial Bold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IEP standard preso.pot  -  Compatibility Mode" id="{D9F6106A-3E29-4543-9BCA-55477479B777}" vid="{4F10486E-EAFD-42EB-A5C1-5F48425E5E7B}"/>
    </a:ext>
  </a:extLst>
</a:theme>
</file>

<file path=ppt/theme/theme4.xml><?xml version="1.0" encoding="utf-8"?>
<a:theme xmlns:a="http://schemas.openxmlformats.org/drawingml/2006/main" name="Theme2">
  <a:themeElements>
    <a:clrScheme name="World Bank">
      <a:dk1>
        <a:srgbClr val="002345"/>
      </a:dk1>
      <a:lt1>
        <a:sysClr val="window" lastClr="FFFFFF"/>
      </a:lt1>
      <a:dk2>
        <a:srgbClr val="000000"/>
      </a:dk2>
      <a:lt2>
        <a:srgbClr val="00ADE4"/>
      </a:lt2>
      <a:accent1>
        <a:srgbClr val="000000"/>
      </a:accent1>
      <a:accent2>
        <a:srgbClr val="7F7F7F"/>
      </a:accent2>
      <a:accent3>
        <a:srgbClr val="00ADE4"/>
      </a:accent3>
      <a:accent4>
        <a:srgbClr val="021F43"/>
      </a:accent4>
      <a:accent5>
        <a:srgbClr val="006450"/>
      </a:accent5>
      <a:accent6>
        <a:srgbClr val="F78D28"/>
      </a:accent6>
      <a:hlink>
        <a:srgbClr val="00AB51"/>
      </a:hlink>
      <a:folHlink>
        <a:srgbClr val="614776"/>
      </a:folHlink>
    </a:clrScheme>
    <a:fontScheme name="World Bank Arial">
      <a:majorFont>
        <a:latin typeface="Arial Bold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lnDef>
    <a:txDef>
      <a:spPr/>
      <a:bodyPr/>
      <a:lstStyle>
        <a:defPPr algn="l" eaLnBrk="1" hangingPunct="1">
          <a:defRPr sz="1100" dirty="0" smtClean="0">
            <a:solidFill>
              <a:srgbClr val="17375E"/>
            </a:solidFill>
            <a:latin typeface="Arial" panose="020B0604020202020204" pitchFamily="34" charset="0"/>
          </a:defRPr>
        </a:defPPr>
      </a:lstStyle>
    </a:tx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heme2" id="{BCAB9BDE-7FE8-4D2B-ACFF-03A4DC31FBFE}" vid="{823A246A-101B-4AE1-97AC-B8C69B619417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World Bank">
    <a:dk1>
      <a:srgbClr val="002345"/>
    </a:dk1>
    <a:lt1>
      <a:sysClr val="window" lastClr="FFFFFF"/>
    </a:lt1>
    <a:dk2>
      <a:srgbClr val="000000"/>
    </a:dk2>
    <a:lt2>
      <a:srgbClr val="00ADE4"/>
    </a:lt2>
    <a:accent1>
      <a:srgbClr val="000000"/>
    </a:accent1>
    <a:accent2>
      <a:srgbClr val="7F7F7F"/>
    </a:accent2>
    <a:accent3>
      <a:srgbClr val="00ADE4"/>
    </a:accent3>
    <a:accent4>
      <a:srgbClr val="021F43"/>
    </a:accent4>
    <a:accent5>
      <a:srgbClr val="006450"/>
    </a:accent5>
    <a:accent6>
      <a:srgbClr val="F78D28"/>
    </a:accent6>
    <a:hlink>
      <a:srgbClr val="00AB51"/>
    </a:hlink>
    <a:folHlink>
      <a:srgbClr val="614776"/>
    </a:folHlink>
  </a:clrScheme>
</a:themeOverride>
</file>

<file path=ppt/theme/themeOverride2.xml><?xml version="1.0" encoding="utf-8"?>
<a:themeOverride xmlns:a="http://schemas.openxmlformats.org/drawingml/2006/main">
  <a:clrScheme name="World Bank">
    <a:dk1>
      <a:srgbClr val="002345"/>
    </a:dk1>
    <a:lt1>
      <a:sysClr val="window" lastClr="FFFFFF"/>
    </a:lt1>
    <a:dk2>
      <a:srgbClr val="000000"/>
    </a:dk2>
    <a:lt2>
      <a:srgbClr val="00ADE4"/>
    </a:lt2>
    <a:accent1>
      <a:srgbClr val="000000"/>
    </a:accent1>
    <a:accent2>
      <a:srgbClr val="7F7F7F"/>
    </a:accent2>
    <a:accent3>
      <a:srgbClr val="00ADE4"/>
    </a:accent3>
    <a:accent4>
      <a:srgbClr val="021F43"/>
    </a:accent4>
    <a:accent5>
      <a:srgbClr val="006450"/>
    </a:accent5>
    <a:accent6>
      <a:srgbClr val="F78D28"/>
    </a:accent6>
    <a:hlink>
      <a:srgbClr val="00AB51"/>
    </a:hlink>
    <a:folHlink>
      <a:srgbClr val="614776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0D135C35F46F242ABD78D63C2151323" ma:contentTypeVersion="13" ma:contentTypeDescription="Create a new document." ma:contentTypeScope="" ma:versionID="f9b25b66a4ff7bd66c0059b679fc8b7b">
  <xsd:schema xmlns:xsd="http://www.w3.org/2001/XMLSchema" xmlns:xs="http://www.w3.org/2001/XMLSchema" xmlns:p="http://schemas.microsoft.com/office/2006/metadata/properties" xmlns:ns3="0c867391-8214-4b58-86b3-de07547409f9" xmlns:ns4="fddef6a8-5936-4909-96e0-2ad7a6b1720b" targetNamespace="http://schemas.microsoft.com/office/2006/metadata/properties" ma:root="true" ma:fieldsID="d49cd8fb50a82f4d2ad37c265db787e1" ns3:_="" ns4:_="">
    <xsd:import namespace="0c867391-8214-4b58-86b3-de07547409f9"/>
    <xsd:import namespace="fddef6a8-5936-4909-96e0-2ad7a6b1720b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ServiceAutoKeyPoints" minOccurs="0"/>
                <xsd:element ref="ns4:MediaServiceKeyPoints" minOccurs="0"/>
                <xsd:element ref="ns4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c867391-8214-4b58-86b3-de07547409f9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description="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def6a8-5936-4909-96e0-2ad7a6b1720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4" nillable="true" ma:displayName="MediaServiceAutoTags" ma:description="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976CAE6-6D2C-4B9F-86D0-4E5814233C73}">
  <ds:schemaRefs>
    <ds:schemaRef ds:uri="0c867391-8214-4b58-86b3-de07547409f9"/>
    <ds:schemaRef ds:uri="fddef6a8-5936-4909-96e0-2ad7a6b1720b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30B586D4-519D-4E60-9D1E-322131403872}">
  <ds:schemaRefs>
    <ds:schemaRef ds:uri="0c867391-8214-4b58-86b3-de07547409f9"/>
    <ds:schemaRef ds:uri="fddef6a8-5936-4909-96e0-2ad7a6b1720b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903E63B4-5A2F-4942-B4FE-505573CFF0D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2069</TotalTime>
  <Words>2636</Words>
  <Application>Microsoft Office PowerPoint</Application>
  <PresentationFormat>On-screen Show (4:3)</PresentationFormat>
  <Paragraphs>287</Paragraphs>
  <Slides>36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6</vt:i4>
      </vt:variant>
    </vt:vector>
  </HeadingPairs>
  <TitlesOfParts>
    <vt:vector size="52" baseType="lpstr">
      <vt:lpstr>YouTube Noto</vt:lpstr>
      <vt:lpstr>Andes ExtraLight</vt:lpstr>
      <vt:lpstr>Arial</vt:lpstr>
      <vt:lpstr>Arial Bold</vt:lpstr>
      <vt:lpstr>Calibri</vt:lpstr>
      <vt:lpstr>Garamond</vt:lpstr>
      <vt:lpstr>Segoe UI</vt:lpstr>
      <vt:lpstr>Symbol</vt:lpstr>
      <vt:lpstr>Times New Roman</vt:lpstr>
      <vt:lpstr>Trebuchet MS</vt:lpstr>
      <vt:lpstr>Wingdings</vt:lpstr>
      <vt:lpstr>WBG-Any_Logo</vt:lpstr>
      <vt:lpstr>Full Page Interior</vt:lpstr>
      <vt:lpstr>1_Full Page Interior</vt:lpstr>
      <vt:lpstr>Theme2</vt:lpstr>
      <vt:lpstr>think-cell Slide</vt:lpstr>
      <vt:lpstr>Day 6: introduction to google earth engine and github</vt:lpstr>
      <vt:lpstr>Today’s Agenda</vt:lpstr>
      <vt:lpstr>Introduction to Google Earth Engine</vt:lpstr>
      <vt:lpstr>Google Earth Engine (with Python)</vt:lpstr>
      <vt:lpstr>What is GEE?</vt:lpstr>
      <vt:lpstr>Let’s sign up for GEE</vt:lpstr>
      <vt:lpstr>Setting things up</vt:lpstr>
      <vt:lpstr>Get Python and geemap Package</vt:lpstr>
      <vt:lpstr>Get Python and geemap Package</vt:lpstr>
      <vt:lpstr>Get Python and geemap Package</vt:lpstr>
      <vt:lpstr>Example 1: Working with NDVI data through GEE</vt:lpstr>
      <vt:lpstr>Introduction to GitHub</vt:lpstr>
      <vt:lpstr>PowerPoint Presentation</vt:lpstr>
      <vt:lpstr>PowerPoint Presentation</vt:lpstr>
      <vt:lpstr>What are Git and Github?</vt:lpstr>
      <vt:lpstr>Workflow through github</vt:lpstr>
      <vt:lpstr>Hands-on practice</vt:lpstr>
      <vt:lpstr>Our goal</vt:lpstr>
      <vt:lpstr>Setting up github and github desktop</vt:lpstr>
      <vt:lpstr>Create a repository</vt:lpstr>
      <vt:lpstr>Copy (or clone) the repository to your local machine</vt:lpstr>
      <vt:lpstr>PowerPoint Presentation</vt:lpstr>
      <vt:lpstr>Add a file to your local repo and "commit" (save) the changes</vt:lpstr>
      <vt:lpstr>Add a file to your local repo and "commit" (save) the changes</vt:lpstr>
      <vt:lpstr>Create a "branch" (version), make a change, commit the change</vt:lpstr>
      <vt:lpstr>Create a "branch" (version), make a change, commit the change</vt:lpstr>
      <vt:lpstr>Create a "branch" (version), make a change, commit the change</vt:lpstr>
      <vt:lpstr>Open a "pull request" (propose changes to the master branch)</vt:lpstr>
      <vt:lpstr>Open a "pull request" (propose changes to the master branch)</vt:lpstr>
      <vt:lpstr>Open a "pull request" (propose changes to the master branch)</vt:lpstr>
      <vt:lpstr>Open a "pull request" (propose changes to the master branch)</vt:lpstr>
      <vt:lpstr>"Merge" your branch to the master branch</vt:lpstr>
      <vt:lpstr>How to resolve conflicts</vt:lpstr>
      <vt:lpstr>How to resolve conflicts</vt:lpstr>
      <vt:lpstr>How to resolve conflicts</vt:lpstr>
      <vt:lpstr>How to resolve conflict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ancy Bikondo-Omosa</dc:creator>
  <cp:lastModifiedBy>Takaaki Masaki</cp:lastModifiedBy>
  <cp:revision>2</cp:revision>
  <dcterms:created xsi:type="dcterms:W3CDTF">2021-02-18T16:05:50Z</dcterms:created>
  <dcterms:modified xsi:type="dcterms:W3CDTF">2024-04-28T14:27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0D135C35F46F242ABD78D63C2151323</vt:lpwstr>
  </property>
</Properties>
</file>